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64" r:id="rId4"/>
  </p:sldMasterIdLst>
  <p:notesMasterIdLst>
    <p:notesMasterId r:id="rId7"/>
  </p:notesMasterIdLst>
  <p:handoutMasterIdLst>
    <p:handoutMasterId r:id="rId8"/>
  </p:handoutMasterIdLst>
  <p:sldIdLst>
    <p:sldId id="262" r:id="rId5"/>
    <p:sldId id="264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2A49B2F-2527-AF2D-D98F-904645CE01E4}" name="Michael Love" initials="ML" userId="S::michael.love@bcw-global.com::092b0555-242d-4620-b1b0-defd61c97ed1" providerId="AD"/>
  <p188:author id="{2A0F9C62-D2AF-A455-CD88-91CED4A83014}" name="Fabienne ASTIER" initials="FA" userId="S::faa35054@ipsen.com::1e55610c-edfa-4609-a8f6-5ff7a556b35e" providerId="AD"/>
  <p188:author id="{C612E4AD-AD17-C98B-1668-8C1DEE11100B}" name="Jaya MARCELLIN" initials="" userId="S::jam79109@ipsen.com::28b204ab-4561-4f41-8871-c0c966cc3bc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670"/>
    <a:srgbClr val="ECF9FF"/>
    <a:srgbClr val="FF9999"/>
    <a:srgbClr val="E6BD9C"/>
    <a:srgbClr val="0086CC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88A37F-1FA2-4AE7-BE49-00DB30705928}" v="13" dt="2024-04-02T14:39:55.461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72" y="1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BCDEC90-2361-39CE-B2C6-8DA4FC63BB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Lato" panose="020F0502020204030203" pitchFamily="34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1AA17-F83B-6E64-6195-3E5EEF9DD9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D948FA-48FA-5B43-8D9C-835AE5FB2C82}" type="datetimeFigureOut">
              <a:rPr lang="en-US" smtClean="0">
                <a:latin typeface="Lato" panose="020F0502020204030203" pitchFamily="34" charset="77"/>
              </a:rPr>
              <a:t>4/2/2024</a:t>
            </a:fld>
            <a:endParaRPr lang="en-US">
              <a:latin typeface="Lato" panose="020F0502020204030203" pitchFamily="34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CFEE0A-7C8C-CE06-52A4-72F24E64FA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Lato" panose="020F0502020204030203" pitchFamily="34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889B1C-B28C-6A77-B80A-32C97863F8C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2ECE07-47CC-EE4C-81DF-998521EA7C3C}" type="slidenum">
              <a:rPr lang="en-US" smtClean="0">
                <a:latin typeface="Lato" panose="020F0502020204030203" pitchFamily="34" charset="77"/>
              </a:rPr>
              <a:t>‹#›</a:t>
            </a:fld>
            <a:endParaRPr lang="en-US"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679317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Lato" panose="020F0502020204030203" pitchFamily="34" charset="77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Lato" panose="020F0502020204030203" pitchFamily="34" charset="77"/>
              </a:defRPr>
            </a:lvl1pPr>
          </a:lstStyle>
          <a:p>
            <a:fld id="{3DF5730F-0699-C949-9AD4-5A480F6D723C}" type="datetimeFigureOut">
              <a:rPr lang="en-US" smtClean="0"/>
              <a:pPr/>
              <a:t>4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Lato" panose="020F0502020204030203" pitchFamily="34" charset="77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Lato" panose="020F0502020204030203" pitchFamily="34" charset="77"/>
              </a:defRPr>
            </a:lvl1pPr>
          </a:lstStyle>
          <a:p>
            <a:fld id="{E687B716-085D-7940-901B-C0CCB44E0C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240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Lato" panose="020F0502020204030203" pitchFamily="34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Lato" panose="020F0502020204030203" pitchFamily="34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Lato" panose="020F0502020204030203" pitchFamily="34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Lato" panose="020F0502020204030203" pitchFamily="34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Lato" panose="020F0502020204030203" pitchFamily="34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30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come slide">
    <p:bg>
      <p:bgPr>
        <a:solidFill>
          <a:schemeClr val="tx2">
            <a:alpha val="3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BA4929-AEDC-F054-1E2E-0BDEB3CD094D}"/>
              </a:ext>
            </a:extLst>
          </p:cNvPr>
          <p:cNvSpPr/>
          <p:nvPr userDrawn="1"/>
        </p:nvSpPr>
        <p:spPr>
          <a:xfrm>
            <a:off x="-1" y="0"/>
            <a:ext cx="7892717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71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BD28C1-DF90-F659-7E81-36A5531FDF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89269" y="6516094"/>
            <a:ext cx="320129" cy="236433"/>
          </a:xfrm>
          <a:prstGeom prst="rect">
            <a:avLst/>
          </a:prstGeom>
        </p:spPr>
        <p:txBody>
          <a:bodyPr/>
          <a:lstStyle/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8D3807D-005D-1EA7-BDFB-14AAD01BA4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1" y="2639738"/>
            <a:ext cx="10730059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A3BF6F70-9846-908B-B946-BE2B152D4EED}"/>
              </a:ext>
            </a:extLst>
          </p:cNvPr>
          <p:cNvSpPr/>
          <p:nvPr userDrawn="1"/>
        </p:nvSpPr>
        <p:spPr>
          <a:xfrm>
            <a:off x="7504295" y="1"/>
            <a:ext cx="4687705" cy="6858000"/>
          </a:xfrm>
          <a:custGeom>
            <a:avLst/>
            <a:gdLst>
              <a:gd name="connsiteX0" fmla="*/ 45518 w 4687705"/>
              <a:gd name="connsiteY0" fmla="*/ 0 h 6904879"/>
              <a:gd name="connsiteX1" fmla="*/ 4687705 w 4687705"/>
              <a:gd name="connsiteY1" fmla="*/ 0 h 6904879"/>
              <a:gd name="connsiteX2" fmla="*/ 4687705 w 4687705"/>
              <a:gd name="connsiteY2" fmla="*/ 6904879 h 6904879"/>
              <a:gd name="connsiteX3" fmla="*/ 0 w 4687705"/>
              <a:gd name="connsiteY3" fmla="*/ 6904879 h 6904879"/>
              <a:gd name="connsiteX4" fmla="*/ 3201589 w 4687705"/>
              <a:gd name="connsiteY4" fmla="*/ 3584465 h 6904879"/>
              <a:gd name="connsiteX5" fmla="*/ 3222132 w 4687705"/>
              <a:gd name="connsiteY5" fmla="*/ 3559787 h 6904879"/>
              <a:gd name="connsiteX6" fmla="*/ 3238567 w 4687705"/>
              <a:gd name="connsiteY6" fmla="*/ 3532940 h 6904879"/>
              <a:gd name="connsiteX7" fmla="*/ 3250894 w 4687705"/>
              <a:gd name="connsiteY7" fmla="*/ 3504406 h 6904879"/>
              <a:gd name="connsiteX8" fmla="*/ 3259113 w 4687705"/>
              <a:gd name="connsiteY8" fmla="*/ 3474666 h 6904879"/>
              <a:gd name="connsiteX9" fmla="*/ 3263224 w 4687705"/>
              <a:gd name="connsiteY9" fmla="*/ 3444203 h 6904879"/>
              <a:gd name="connsiteX10" fmla="*/ 3263227 w 4687705"/>
              <a:gd name="connsiteY10" fmla="*/ 3413497 h 6904879"/>
              <a:gd name="connsiteX11" fmla="*/ 3259118 w 4687705"/>
              <a:gd name="connsiteY11" fmla="*/ 3383032 h 6904879"/>
              <a:gd name="connsiteX12" fmla="*/ 3250901 w 4687705"/>
              <a:gd name="connsiteY12" fmla="*/ 3353288 h 6904879"/>
              <a:gd name="connsiteX13" fmla="*/ 3238575 w 4687705"/>
              <a:gd name="connsiteY13" fmla="*/ 3324749 h 6904879"/>
              <a:gd name="connsiteX14" fmla="*/ 3222137 w 4687705"/>
              <a:gd name="connsiteY14" fmla="*/ 3297895 h 6904879"/>
              <a:gd name="connsiteX15" fmla="*/ 3201589 w 4687705"/>
              <a:gd name="connsiteY15" fmla="*/ 3273208 h 6904879"/>
              <a:gd name="connsiteX16" fmla="*/ 45518 w 4687705"/>
              <a:gd name="connsiteY16" fmla="*/ 0 h 690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687705" h="6904879">
                <a:moveTo>
                  <a:pt x="45518" y="0"/>
                </a:moveTo>
                <a:lnTo>
                  <a:pt x="4687705" y="0"/>
                </a:lnTo>
                <a:lnTo>
                  <a:pt x="4687705" y="6904879"/>
                </a:lnTo>
                <a:lnTo>
                  <a:pt x="0" y="6904879"/>
                </a:lnTo>
                <a:lnTo>
                  <a:pt x="3201589" y="3584465"/>
                </a:lnTo>
                <a:lnTo>
                  <a:pt x="3222132" y="3559787"/>
                </a:lnTo>
                <a:lnTo>
                  <a:pt x="3238567" y="3532940"/>
                </a:lnTo>
                <a:lnTo>
                  <a:pt x="3250894" y="3504406"/>
                </a:lnTo>
                <a:lnTo>
                  <a:pt x="3259113" y="3474666"/>
                </a:lnTo>
                <a:lnTo>
                  <a:pt x="3263224" y="3444203"/>
                </a:lnTo>
                <a:lnTo>
                  <a:pt x="3263227" y="3413497"/>
                </a:lnTo>
                <a:lnTo>
                  <a:pt x="3259118" y="3383032"/>
                </a:lnTo>
                <a:lnTo>
                  <a:pt x="3250901" y="3353288"/>
                </a:lnTo>
                <a:lnTo>
                  <a:pt x="3238575" y="3324749"/>
                </a:lnTo>
                <a:lnTo>
                  <a:pt x="3222137" y="3297895"/>
                </a:lnTo>
                <a:lnTo>
                  <a:pt x="3201589" y="3273208"/>
                </a:lnTo>
                <a:lnTo>
                  <a:pt x="45518" y="0"/>
                </a:lnTo>
                <a:close/>
              </a:path>
            </a:pathLst>
          </a:custGeom>
          <a:solidFill>
            <a:schemeClr val="bg1">
              <a:alpha val="42953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E17C88-E9B6-F066-F75C-5C95BF8F1F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2471" y="4944346"/>
            <a:ext cx="3806748" cy="941387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date of the meeting presentation, project’s launch date…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891C8F-5CA8-A353-0F4D-B15116B851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2471" y="3475116"/>
            <a:ext cx="4832350" cy="141605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subtitle and/or name of the speaker/presenter goes her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36EDCD97-71B7-E12F-96A7-98B88EEEEA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2471" y="811704"/>
            <a:ext cx="1915391" cy="508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940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column and image with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5DD0FCA-F98D-0936-1C4C-408F4FBA66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2084" y="0"/>
            <a:ext cx="405991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2BF8424-B3A4-F3E8-6A37-2468E2DFA30B}"/>
              </a:ext>
            </a:extLst>
          </p:cNvPr>
          <p:cNvSpPr/>
          <p:nvPr userDrawn="1"/>
        </p:nvSpPr>
        <p:spPr>
          <a:xfrm>
            <a:off x="482598" y="6574301"/>
            <a:ext cx="1117029" cy="17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9F4C376F-5C64-5E25-4909-D73183FBB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9C06C3-31F1-DD1F-FD9F-1EBD5B096A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1" y="495225"/>
            <a:ext cx="6974367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F9A01B-8DD7-EDB2-D849-E314F8864A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1" y="1851102"/>
            <a:ext cx="6974368" cy="4520637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Slide Number Placeholder 23">
            <a:extLst>
              <a:ext uri="{FF2B5EF4-FFF2-40B4-BE49-F238E27FC236}">
                <a16:creationId xmlns:a16="http://schemas.microsoft.com/office/drawing/2014/main" id="{0880633B-4D95-6C60-711F-5DA34CB62F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336D415-BCF1-16AD-5FC1-8F14AD27FE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950" y="1308100"/>
            <a:ext cx="6973888" cy="342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ub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43148B8-C248-E7E1-83B8-FE9CC5C47D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57375" y="6576905"/>
            <a:ext cx="5859463" cy="123111"/>
          </a:xfrm>
        </p:spPr>
        <p:txBody>
          <a:bodyPr wrap="square" tIns="0" rIns="0" bIns="0" anchor="b">
            <a:spAutoFit/>
          </a:bodyPr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95624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py with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036FE0E-BA66-5CBD-42A3-3EBB7BFF39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2" y="0"/>
            <a:ext cx="584358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2BF8424-B3A4-F3E8-6A37-2468E2DFA30B}"/>
              </a:ext>
            </a:extLst>
          </p:cNvPr>
          <p:cNvSpPr/>
          <p:nvPr userDrawn="1"/>
        </p:nvSpPr>
        <p:spPr>
          <a:xfrm>
            <a:off x="482598" y="6574301"/>
            <a:ext cx="1117029" cy="17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9F4C376F-5C64-5E25-4909-D73183FBB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CF730A-E59C-7972-E2E8-7DC62515E0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2" y="495225"/>
            <a:ext cx="5101116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4146FE-BEB9-908D-B251-352D3EB290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1" y="1851102"/>
            <a:ext cx="5101117" cy="4520637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39060D-A6F0-C57E-3D2C-0D63DB72AA15}"/>
              </a:ext>
            </a:extLst>
          </p:cNvPr>
          <p:cNvSpPr/>
          <p:nvPr userDrawn="1"/>
        </p:nvSpPr>
        <p:spPr>
          <a:xfrm>
            <a:off x="1452282" y="6543731"/>
            <a:ext cx="4896131" cy="266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23">
            <a:extLst>
              <a:ext uri="{FF2B5EF4-FFF2-40B4-BE49-F238E27FC236}">
                <a16:creationId xmlns:a16="http://schemas.microsoft.com/office/drawing/2014/main" id="{78A1E11E-080B-C534-B27C-BFD73E403E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8B6272-2684-38C8-AE51-9D85039411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950" y="1308100"/>
            <a:ext cx="5100638" cy="342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ub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40CD89-3CEF-A14D-33B7-84F9F73E5C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57375" y="6576905"/>
            <a:ext cx="3986213" cy="123111"/>
          </a:xfrm>
        </p:spPr>
        <p:txBody>
          <a:bodyPr wrap="square" tIns="0" rIns="0" bIns="0" anchor="b">
            <a:spAutoFit/>
          </a:bodyPr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728648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py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22BF8424-B3A4-F3E8-6A37-2468E2DFA30B}"/>
              </a:ext>
            </a:extLst>
          </p:cNvPr>
          <p:cNvSpPr/>
          <p:nvPr userDrawn="1"/>
        </p:nvSpPr>
        <p:spPr>
          <a:xfrm>
            <a:off x="482598" y="6574301"/>
            <a:ext cx="1117029" cy="17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9F4C376F-5C64-5E25-4909-D73183FBB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A2DB2C4-3634-D5A9-1C6F-0B70DC4C1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3" y="495225"/>
            <a:ext cx="3549828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CA8A03F-7488-5EB4-516D-0E5462ADBC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2" y="1851102"/>
            <a:ext cx="3549351" cy="4520637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4B1B6A-EF2F-49AD-B5CB-42F14B90F580}"/>
              </a:ext>
            </a:extLst>
          </p:cNvPr>
          <p:cNvSpPr/>
          <p:nvPr userDrawn="1"/>
        </p:nvSpPr>
        <p:spPr>
          <a:xfrm>
            <a:off x="1452282" y="6543731"/>
            <a:ext cx="3046779" cy="266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3D390F1-4255-E7F9-01C5-BB9BFF9F44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75162" y="0"/>
            <a:ext cx="771683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CFBF0FE3-3A2C-724F-DC3F-41D6446C36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1CF8570-715C-6EC0-D34B-F0FAA1B27F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950" y="1308100"/>
            <a:ext cx="3549351" cy="342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ub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4518B8-84A5-98EC-CB8B-10C2D0213F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57376" y="6576905"/>
            <a:ext cx="2434448" cy="123111"/>
          </a:xfrm>
        </p:spPr>
        <p:txBody>
          <a:bodyPr wrap="square" tIns="0" rIns="0" bIns="0" anchor="b">
            <a:spAutoFit/>
          </a:bodyPr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367302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custom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052918-4B3C-2950-FF24-950E2AE47A7F}"/>
              </a:ext>
            </a:extLst>
          </p:cNvPr>
          <p:cNvSpPr/>
          <p:nvPr userDrawn="1"/>
        </p:nvSpPr>
        <p:spPr>
          <a:xfrm>
            <a:off x="6348413" y="0"/>
            <a:ext cx="5843587" cy="6858000"/>
          </a:xfrm>
          <a:prstGeom prst="rect">
            <a:avLst/>
          </a:prstGeom>
          <a:solidFill>
            <a:schemeClr val="tx2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0" i="0">
                <a:latin typeface="Lato" panose="020F0502020204030203" pitchFamily="34" charset="77"/>
              </a:rPr>
              <a:t>`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FB1B9C5-0173-2F38-16BB-B651B09DB3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401" y="1706761"/>
            <a:ext cx="5527187" cy="3444478"/>
          </a:xfrm>
          <a:prstGeom prst="rect">
            <a:avLst/>
          </a:prstGeom>
        </p:spPr>
      </p:pic>
      <p:sp>
        <p:nvSpPr>
          <p:cNvPr id="11" name="Slide Number Placeholder 23">
            <a:extLst>
              <a:ext uri="{FF2B5EF4-FFF2-40B4-BE49-F238E27FC236}">
                <a16:creationId xmlns:a16="http://schemas.microsoft.com/office/drawing/2014/main" id="{295A03CD-1025-083E-7B7F-D5648244F6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183A1F2-A7FC-C09A-A798-BA7132E7E5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57375" y="6576905"/>
            <a:ext cx="3986213" cy="123111"/>
          </a:xfrm>
        </p:spPr>
        <p:txBody>
          <a:bodyPr wrap="square" tIns="0" rIns="0" bIns="0" anchor="b">
            <a:spAutoFit/>
          </a:bodyPr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Footer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75BAE59-41E0-F593-E86B-DFFD1353B48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4852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P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CA04C8C-C019-4ACE-BA85-1139392A9D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401" y="1706761"/>
            <a:ext cx="5527187" cy="344447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F052918-4B3C-2950-FF24-950E2AE47A7F}"/>
              </a:ext>
            </a:extLst>
          </p:cNvPr>
          <p:cNvSpPr/>
          <p:nvPr userDrawn="1"/>
        </p:nvSpPr>
        <p:spPr>
          <a:xfrm>
            <a:off x="6348413" y="0"/>
            <a:ext cx="5843587" cy="6858000"/>
          </a:xfrm>
          <a:prstGeom prst="rect">
            <a:avLst/>
          </a:prstGeom>
          <a:solidFill>
            <a:schemeClr val="tx2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0" i="0">
                <a:latin typeface="Lato" panose="020F0502020204030203" pitchFamily="34" charset="77"/>
              </a:rPr>
              <a:t>`</a:t>
            </a:r>
          </a:p>
        </p:txBody>
      </p:sp>
      <p:sp>
        <p:nvSpPr>
          <p:cNvPr id="11" name="Slide Number Placeholder 23">
            <a:extLst>
              <a:ext uri="{FF2B5EF4-FFF2-40B4-BE49-F238E27FC236}">
                <a16:creationId xmlns:a16="http://schemas.microsoft.com/office/drawing/2014/main" id="{295A03CD-1025-083E-7B7F-D5648244F6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183A1F2-A7FC-C09A-A798-BA7132E7E5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57375" y="6576905"/>
            <a:ext cx="3986213" cy="123111"/>
          </a:xfrm>
        </p:spPr>
        <p:txBody>
          <a:bodyPr wrap="square" tIns="0" rIns="0" bIns="0" anchor="b">
            <a:spAutoFit/>
          </a:bodyPr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E184C76-9E55-09BC-0128-E6EE335C68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4176" y="2554288"/>
            <a:ext cx="6114238" cy="1727200"/>
          </a:xfrm>
        </p:spPr>
        <p:txBody>
          <a:bodyPr anchor="ctr"/>
          <a:lstStyle>
            <a:lvl1pPr algn="ctr">
              <a:defRPr sz="8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Key Number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7192E9A-F97C-555C-A9A7-AB11B789D8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8413" y="710388"/>
            <a:ext cx="5843587" cy="766149"/>
          </a:xfrm>
        </p:spPr>
        <p:txBody>
          <a:bodyPr tIns="0" rIns="0" bIns="0" anchor="b"/>
          <a:lstStyle>
            <a:lvl1pPr algn="ctr">
              <a:lnSpc>
                <a:spcPts val="458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Sec. Number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C279D50-B886-C762-D27E-1E7015987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3" y="2672042"/>
            <a:ext cx="5843587" cy="766149"/>
          </a:xfrm>
        </p:spPr>
        <p:txBody>
          <a:bodyPr tIns="0" rIns="0" bIns="0" anchor="b"/>
          <a:lstStyle>
            <a:lvl1pPr algn="ctr">
              <a:lnSpc>
                <a:spcPts val="458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Sec. Number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51746AF-1815-7E5F-E1BB-C0E1AE36A4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3" y="4671428"/>
            <a:ext cx="5843587" cy="766149"/>
          </a:xfrm>
        </p:spPr>
        <p:txBody>
          <a:bodyPr tIns="0" rIns="0" bIns="0" anchor="b"/>
          <a:lstStyle>
            <a:lvl1pPr algn="ctr">
              <a:lnSpc>
                <a:spcPts val="458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Sec. Number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D47F284-5172-468B-8BB7-86A1BFD875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8413" y="1475801"/>
            <a:ext cx="5844103" cy="346075"/>
          </a:xfrm>
        </p:spPr>
        <p:txBody>
          <a:bodyPr tIns="0" rIns="0" bIns="0"/>
          <a:lstStyle>
            <a:lvl1pPr algn="ctr"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econdary Number description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117BC19-4B07-B3F3-615D-69822E7D07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48413" y="3437456"/>
            <a:ext cx="5844103" cy="346075"/>
          </a:xfrm>
        </p:spPr>
        <p:txBody>
          <a:bodyPr tIns="0" rIns="0" bIns="0"/>
          <a:lstStyle>
            <a:lvl1pPr algn="ctr"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econdary Number descriptio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D12C935-B023-A224-0F80-1C903723DF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8413" y="5481446"/>
            <a:ext cx="5844103" cy="346075"/>
          </a:xfrm>
        </p:spPr>
        <p:txBody>
          <a:bodyPr tIns="0" rIns="0" bIns="0"/>
          <a:lstStyle>
            <a:lvl1pPr algn="ctr"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econdary Number description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0A393AD-9910-C27C-0016-C8E8A28D94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48413" y="1832640"/>
            <a:ext cx="5844103" cy="346075"/>
          </a:xfrm>
        </p:spPr>
        <p:txBody>
          <a:bodyPr/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Your secondary Number description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B4463AF2-B7D6-6779-7B9D-FE4DFF2B60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8413" y="3794295"/>
            <a:ext cx="5844103" cy="346075"/>
          </a:xfrm>
        </p:spPr>
        <p:txBody>
          <a:bodyPr/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Your secondary Number description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EE70E80F-4FAC-AE27-C209-D03CA0397D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8413" y="5838285"/>
            <a:ext cx="5844103" cy="346075"/>
          </a:xfrm>
        </p:spPr>
        <p:txBody>
          <a:bodyPr/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Your secondary Number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0FB579-644A-608F-C10B-68699A1F88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538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py with custom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06B73439-10F4-4FF3-BE3C-871D880F86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79" y="657563"/>
            <a:ext cx="781456" cy="82964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B34148F-B2DC-94FE-5C0F-146D505682D4}"/>
              </a:ext>
            </a:extLst>
          </p:cNvPr>
          <p:cNvSpPr/>
          <p:nvPr userDrawn="1"/>
        </p:nvSpPr>
        <p:spPr>
          <a:xfrm>
            <a:off x="1452282" y="6621515"/>
            <a:ext cx="10294673" cy="17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2BF8424-B3A4-F3E8-6A37-2468E2DFA30B}"/>
              </a:ext>
            </a:extLst>
          </p:cNvPr>
          <p:cNvSpPr/>
          <p:nvPr userDrawn="1"/>
        </p:nvSpPr>
        <p:spPr>
          <a:xfrm>
            <a:off x="482598" y="6574301"/>
            <a:ext cx="1117029" cy="17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9F4C376F-5C64-5E25-4909-D73183FBB1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A2DB2C4-3634-D5A9-1C6F-0B70DC4C1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2" y="495225"/>
            <a:ext cx="3544235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CA8A03F-7488-5EB4-516D-0E5462ADBC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2" y="1828800"/>
            <a:ext cx="3544234" cy="4542940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Slide Number Placeholder 23">
            <a:extLst>
              <a:ext uri="{FF2B5EF4-FFF2-40B4-BE49-F238E27FC236}">
                <a16:creationId xmlns:a16="http://schemas.microsoft.com/office/drawing/2014/main" id="{10F51089-951F-F594-7DE7-EDE45C1FF9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910BD88-139B-9C51-243A-EC993BDE9F8A}"/>
              </a:ext>
            </a:extLst>
          </p:cNvPr>
          <p:cNvSpPr/>
          <p:nvPr userDrawn="1"/>
        </p:nvSpPr>
        <p:spPr>
          <a:xfrm>
            <a:off x="4475163" y="0"/>
            <a:ext cx="7716837" cy="6858000"/>
          </a:xfrm>
          <a:prstGeom prst="rect">
            <a:avLst/>
          </a:prstGeom>
          <a:solidFill>
            <a:schemeClr val="tx2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0" i="0">
                <a:latin typeface="Lato" panose="020F0502020204030203" pitchFamily="34" charset="77"/>
              </a:rPr>
              <a:t>`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A01B728-19F4-0181-DF40-79205AEFF7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57375" y="6576906"/>
            <a:ext cx="2429331" cy="123111"/>
          </a:xfrm>
        </p:spPr>
        <p:txBody>
          <a:bodyPr wrap="square" tIns="0" rIns="0" bIns="0" anchor="b">
            <a:spAutoFit/>
          </a:bodyPr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5C3355A-B895-8829-4859-087E75F667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950" y="1308100"/>
            <a:ext cx="3549351" cy="342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3635664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COLOGY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BE805879-1289-11F0-4DA4-DAFA95281E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B203AEE5-22F9-7997-3459-F110C6823A0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6433" y="169338"/>
            <a:ext cx="11621077" cy="65368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10980734" cy="5794739"/>
          </a:xfr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00" b="1" i="0" kern="1200" dirty="0">
                <a:solidFill>
                  <a:schemeClr val="bg1"/>
                </a:solidFill>
                <a:latin typeface="Lato" panose="020F0502020204030203" pitchFamily="34" charset="77"/>
                <a:ea typeface="+mj-ea"/>
                <a:cs typeface="+mj-cs"/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7956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UROSCIENCE_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3D75C802-F833-535F-E7CA-54D26146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76CF5966-ACA5-F75B-4363-364E9CA414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6433" y="169338"/>
            <a:ext cx="11621077" cy="65368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10980734" cy="5794739"/>
          </a:xfr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00" b="1" i="0" kern="1200" dirty="0">
                <a:solidFill>
                  <a:schemeClr val="bg1"/>
                </a:solidFill>
                <a:latin typeface="Lato" panose="020F0502020204030203" pitchFamily="34" charset="77"/>
                <a:ea typeface="+mj-ea"/>
                <a:cs typeface="+mj-cs"/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421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ARE DISEASE_divi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63B1512-E5DA-55B2-1D6A-E2DFB282D3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2269CF3-8FB2-6265-6C2C-6C740612B5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6433" y="169338"/>
            <a:ext cx="11621077" cy="65368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10980734" cy="5794739"/>
          </a:xfr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00" b="1" i="0" kern="1200" dirty="0">
                <a:solidFill>
                  <a:schemeClr val="bg1"/>
                </a:solidFill>
                <a:latin typeface="Lato" panose="020F0502020204030203" pitchFamily="34" charset="77"/>
                <a:ea typeface="+mj-ea"/>
                <a:cs typeface="+mj-cs"/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2204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UROSCIENCE_divider_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C4E2B1B-AF88-D98E-534C-6DA0495B2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3CC3ECC-8F97-5368-96CB-2B1F13C3380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6433" y="169338"/>
            <a:ext cx="11621077" cy="65368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10980734" cy="5794739"/>
          </a:xfr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00" b="1" i="0" kern="1200" dirty="0">
                <a:solidFill>
                  <a:schemeClr val="bg1"/>
                </a:solidFill>
                <a:latin typeface="Lato" panose="020F0502020204030203" pitchFamily="34" charset="77"/>
                <a:ea typeface="+mj-ea"/>
                <a:cs typeface="+mj-cs"/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53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1AABB5F-9386-1249-D7FC-E49786CC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5111750" cy="530935"/>
          </a:xfrm>
        </p:spPr>
        <p:txBody>
          <a:bodyPr anchor="t"/>
          <a:lstStyle>
            <a:lvl1pPr>
              <a:defRPr sz="3400">
                <a:solidFill>
                  <a:schemeClr val="tx2"/>
                </a:solidFill>
              </a:defRPr>
            </a:lvl1pPr>
          </a:lstStyle>
          <a:p>
            <a:r>
              <a:rPr lang="en-GB"/>
              <a:t>Contents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8EAFAC5-2031-7FC4-8DD7-F536576F9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BF3C0B-0FC2-D159-A4D1-53F2C8C9D4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89074" y="6520347"/>
            <a:ext cx="260001" cy="239507"/>
          </a:xfrm>
        </p:spPr>
        <p:txBody>
          <a:bodyPr/>
          <a:lstStyle/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847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ARE DISEASE_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21CCF648-92A6-CE27-2E37-CC75252A77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A31ED01-57FA-E050-004F-67E38C710DA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6433" y="169338"/>
            <a:ext cx="11621077" cy="65368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10980734" cy="5794739"/>
          </a:xfr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00" b="1" i="0" kern="1200" dirty="0">
                <a:solidFill>
                  <a:schemeClr val="bg1"/>
                </a:solidFill>
                <a:latin typeface="Lato" panose="020F0502020204030203" pitchFamily="34" charset="77"/>
                <a:ea typeface="+mj-ea"/>
                <a:cs typeface="+mj-cs"/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4923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4411CB7-7438-8893-2A83-CBAF1D41CCE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6435" y="232374"/>
            <a:ext cx="11584005" cy="6407748"/>
          </a:xfrm>
          <a:custGeom>
            <a:avLst/>
            <a:gdLst>
              <a:gd name="connsiteX0" fmla="*/ 190579 w 11584005"/>
              <a:gd name="connsiteY0" fmla="*/ 0 h 6407748"/>
              <a:gd name="connsiteX1" fmla="*/ 8268943 w 11584005"/>
              <a:gd name="connsiteY1" fmla="*/ 0 h 6407748"/>
              <a:gd name="connsiteX2" fmla="*/ 8296041 w 11584005"/>
              <a:gd name="connsiteY2" fmla="*/ 1224 h 6407748"/>
              <a:gd name="connsiteX3" fmla="*/ 8324433 w 11584005"/>
              <a:gd name="connsiteY3" fmla="*/ 4804 h 6407748"/>
              <a:gd name="connsiteX4" fmla="*/ 8353732 w 11584005"/>
              <a:gd name="connsiteY4" fmla="*/ 10579 h 6407748"/>
              <a:gd name="connsiteX5" fmla="*/ 8383550 w 11584005"/>
              <a:gd name="connsiteY5" fmla="*/ 18386 h 6407748"/>
              <a:gd name="connsiteX6" fmla="*/ 8413500 w 11584005"/>
              <a:gd name="connsiteY6" fmla="*/ 28065 h 6407748"/>
              <a:gd name="connsiteX7" fmla="*/ 8443194 w 11584005"/>
              <a:gd name="connsiteY7" fmla="*/ 39457 h 6407748"/>
              <a:gd name="connsiteX8" fmla="*/ 8472245 w 11584005"/>
              <a:gd name="connsiteY8" fmla="*/ 52399 h 6407748"/>
              <a:gd name="connsiteX9" fmla="*/ 8500266 w 11584005"/>
              <a:gd name="connsiteY9" fmla="*/ 66732 h 6407748"/>
              <a:gd name="connsiteX10" fmla="*/ 8526868 w 11584005"/>
              <a:gd name="connsiteY10" fmla="*/ 82293 h 6407748"/>
              <a:gd name="connsiteX11" fmla="*/ 8551665 w 11584005"/>
              <a:gd name="connsiteY11" fmla="*/ 98923 h 6407748"/>
              <a:gd name="connsiteX12" fmla="*/ 8574269 w 11584005"/>
              <a:gd name="connsiteY12" fmla="*/ 116461 h 6407748"/>
              <a:gd name="connsiteX13" fmla="*/ 8594293 w 11584005"/>
              <a:gd name="connsiteY13" fmla="*/ 134746 h 6407748"/>
              <a:gd name="connsiteX14" fmla="*/ 11528656 w 11584005"/>
              <a:gd name="connsiteY14" fmla="*/ 3069109 h 6407748"/>
              <a:gd name="connsiteX15" fmla="*/ 11547108 w 11584005"/>
              <a:gd name="connsiteY15" fmla="*/ 3090484 h 6407748"/>
              <a:gd name="connsiteX16" fmla="*/ 11561868 w 11584005"/>
              <a:gd name="connsiteY16" fmla="*/ 3113735 h 6407748"/>
              <a:gd name="connsiteX17" fmla="*/ 11572937 w 11584005"/>
              <a:gd name="connsiteY17" fmla="*/ 3138446 h 6407748"/>
              <a:gd name="connsiteX18" fmla="*/ 11580316 w 11584005"/>
              <a:gd name="connsiteY18" fmla="*/ 3164199 h 6407748"/>
              <a:gd name="connsiteX19" fmla="*/ 11584005 w 11584005"/>
              <a:gd name="connsiteY19" fmla="*/ 3190577 h 6407748"/>
              <a:gd name="connsiteX20" fmla="*/ 11584003 w 11584005"/>
              <a:gd name="connsiteY20" fmla="*/ 3217163 h 6407748"/>
              <a:gd name="connsiteX21" fmla="*/ 11580311 w 11584005"/>
              <a:gd name="connsiteY21" fmla="*/ 3243539 h 6407748"/>
              <a:gd name="connsiteX22" fmla="*/ 11572931 w 11584005"/>
              <a:gd name="connsiteY22" fmla="*/ 3269289 h 6407748"/>
              <a:gd name="connsiteX23" fmla="*/ 11561861 w 11584005"/>
              <a:gd name="connsiteY23" fmla="*/ 3293995 h 6407748"/>
              <a:gd name="connsiteX24" fmla="*/ 11547103 w 11584005"/>
              <a:gd name="connsiteY24" fmla="*/ 3317240 h 6407748"/>
              <a:gd name="connsiteX25" fmla="*/ 11528656 w 11584005"/>
              <a:gd name="connsiteY25" fmla="*/ 3338607 h 6407748"/>
              <a:gd name="connsiteX26" fmla="*/ 8594293 w 11584005"/>
              <a:gd name="connsiteY26" fmla="*/ 6272970 h 6407748"/>
              <a:gd name="connsiteX27" fmla="*/ 8574269 w 11584005"/>
              <a:gd name="connsiteY27" fmla="*/ 6291256 h 6407748"/>
              <a:gd name="connsiteX28" fmla="*/ 8551665 w 11584005"/>
              <a:gd name="connsiteY28" fmla="*/ 6308795 h 6407748"/>
              <a:gd name="connsiteX29" fmla="*/ 8526868 w 11584005"/>
              <a:gd name="connsiteY29" fmla="*/ 6325427 h 6407748"/>
              <a:gd name="connsiteX30" fmla="*/ 8500266 w 11584005"/>
              <a:gd name="connsiteY30" fmla="*/ 6340990 h 6407748"/>
              <a:gd name="connsiteX31" fmla="*/ 8472247 w 11584005"/>
              <a:gd name="connsiteY31" fmla="*/ 6355324 h 6407748"/>
              <a:gd name="connsiteX32" fmla="*/ 8443197 w 11584005"/>
              <a:gd name="connsiteY32" fmla="*/ 6368268 h 6407748"/>
              <a:gd name="connsiteX33" fmla="*/ 8413505 w 11584005"/>
              <a:gd name="connsiteY33" fmla="*/ 6379662 h 6407748"/>
              <a:gd name="connsiteX34" fmla="*/ 8383557 w 11584005"/>
              <a:gd name="connsiteY34" fmla="*/ 6389344 h 6407748"/>
              <a:gd name="connsiteX35" fmla="*/ 8353743 w 11584005"/>
              <a:gd name="connsiteY35" fmla="*/ 6397155 h 6407748"/>
              <a:gd name="connsiteX36" fmla="*/ 8324447 w 11584005"/>
              <a:gd name="connsiteY36" fmla="*/ 6402933 h 6407748"/>
              <a:gd name="connsiteX37" fmla="*/ 8296061 w 11584005"/>
              <a:gd name="connsiteY37" fmla="*/ 6406517 h 6407748"/>
              <a:gd name="connsiteX38" fmla="*/ 8268969 w 11584005"/>
              <a:gd name="connsiteY38" fmla="*/ 6407748 h 6407748"/>
              <a:gd name="connsiteX39" fmla="*/ 190579 w 11584005"/>
              <a:gd name="connsiteY39" fmla="*/ 6407722 h 6407748"/>
              <a:gd name="connsiteX40" fmla="*/ 162420 w 11584005"/>
              <a:gd name="connsiteY40" fmla="*/ 6405662 h 6407748"/>
              <a:gd name="connsiteX41" fmla="*/ 135543 w 11584005"/>
              <a:gd name="connsiteY41" fmla="*/ 6399663 h 6407748"/>
              <a:gd name="connsiteX42" fmla="*/ 110243 w 11584005"/>
              <a:gd name="connsiteY42" fmla="*/ 6390022 h 6407748"/>
              <a:gd name="connsiteX43" fmla="*/ 86815 w 11584005"/>
              <a:gd name="connsiteY43" fmla="*/ 6377034 h 6407748"/>
              <a:gd name="connsiteX44" fmla="*/ 65554 w 11584005"/>
              <a:gd name="connsiteY44" fmla="*/ 6360992 h 6407748"/>
              <a:gd name="connsiteX45" fmla="*/ 46755 w 11584005"/>
              <a:gd name="connsiteY45" fmla="*/ 6342193 h 6407748"/>
              <a:gd name="connsiteX46" fmla="*/ 30714 w 11584005"/>
              <a:gd name="connsiteY46" fmla="*/ 6320933 h 6407748"/>
              <a:gd name="connsiteX47" fmla="*/ 17725 w 11584005"/>
              <a:gd name="connsiteY47" fmla="*/ 6297504 h 6407748"/>
              <a:gd name="connsiteX48" fmla="*/ 8084 w 11584005"/>
              <a:gd name="connsiteY48" fmla="*/ 6272204 h 6407748"/>
              <a:gd name="connsiteX49" fmla="*/ 2085 w 11584005"/>
              <a:gd name="connsiteY49" fmla="*/ 6245327 h 6407748"/>
              <a:gd name="connsiteX50" fmla="*/ 25 w 11584005"/>
              <a:gd name="connsiteY50" fmla="*/ 6217169 h 6407748"/>
              <a:gd name="connsiteX51" fmla="*/ 0 w 11584005"/>
              <a:gd name="connsiteY51" fmla="*/ 190573 h 6407748"/>
              <a:gd name="connsiteX52" fmla="*/ 2067 w 11584005"/>
              <a:gd name="connsiteY52" fmla="*/ 162408 h 6407748"/>
              <a:gd name="connsiteX53" fmla="*/ 8070 w 11584005"/>
              <a:gd name="connsiteY53" fmla="*/ 135526 h 6407748"/>
              <a:gd name="connsiteX54" fmla="*/ 17715 w 11584005"/>
              <a:gd name="connsiteY54" fmla="*/ 110223 h 6407748"/>
              <a:gd name="connsiteX55" fmla="*/ 30708 w 11584005"/>
              <a:gd name="connsiteY55" fmla="*/ 86792 h 6407748"/>
              <a:gd name="connsiteX56" fmla="*/ 46751 w 11584005"/>
              <a:gd name="connsiteY56" fmla="*/ 65529 h 6407748"/>
              <a:gd name="connsiteX57" fmla="*/ 65552 w 11584005"/>
              <a:gd name="connsiteY57" fmla="*/ 46730 h 6407748"/>
              <a:gd name="connsiteX58" fmla="*/ 86814 w 11584005"/>
              <a:gd name="connsiteY58" fmla="*/ 30688 h 6407748"/>
              <a:gd name="connsiteX59" fmla="*/ 110243 w 11584005"/>
              <a:gd name="connsiteY59" fmla="*/ 17699 h 6407748"/>
              <a:gd name="connsiteX60" fmla="*/ 135543 w 11584005"/>
              <a:gd name="connsiteY60" fmla="*/ 8059 h 6407748"/>
              <a:gd name="connsiteX61" fmla="*/ 162420 w 11584005"/>
              <a:gd name="connsiteY61" fmla="*/ 2060 h 6407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1584005" h="6407748">
                <a:moveTo>
                  <a:pt x="190579" y="0"/>
                </a:moveTo>
                <a:lnTo>
                  <a:pt x="8268943" y="0"/>
                </a:lnTo>
                <a:lnTo>
                  <a:pt x="8296041" y="1224"/>
                </a:lnTo>
                <a:lnTo>
                  <a:pt x="8324433" y="4804"/>
                </a:lnTo>
                <a:lnTo>
                  <a:pt x="8353732" y="10579"/>
                </a:lnTo>
                <a:lnTo>
                  <a:pt x="8383550" y="18386"/>
                </a:lnTo>
                <a:lnTo>
                  <a:pt x="8413500" y="28065"/>
                </a:lnTo>
                <a:lnTo>
                  <a:pt x="8443194" y="39457"/>
                </a:lnTo>
                <a:lnTo>
                  <a:pt x="8472245" y="52399"/>
                </a:lnTo>
                <a:lnTo>
                  <a:pt x="8500266" y="66732"/>
                </a:lnTo>
                <a:lnTo>
                  <a:pt x="8526868" y="82293"/>
                </a:lnTo>
                <a:lnTo>
                  <a:pt x="8551665" y="98923"/>
                </a:lnTo>
                <a:lnTo>
                  <a:pt x="8574269" y="116461"/>
                </a:lnTo>
                <a:lnTo>
                  <a:pt x="8594293" y="134746"/>
                </a:lnTo>
                <a:lnTo>
                  <a:pt x="11528656" y="3069109"/>
                </a:lnTo>
                <a:lnTo>
                  <a:pt x="11547108" y="3090484"/>
                </a:lnTo>
                <a:lnTo>
                  <a:pt x="11561868" y="3113735"/>
                </a:lnTo>
                <a:lnTo>
                  <a:pt x="11572937" y="3138446"/>
                </a:lnTo>
                <a:lnTo>
                  <a:pt x="11580316" y="3164199"/>
                </a:lnTo>
                <a:lnTo>
                  <a:pt x="11584005" y="3190577"/>
                </a:lnTo>
                <a:lnTo>
                  <a:pt x="11584003" y="3217163"/>
                </a:lnTo>
                <a:lnTo>
                  <a:pt x="11580311" y="3243539"/>
                </a:lnTo>
                <a:lnTo>
                  <a:pt x="11572931" y="3269289"/>
                </a:lnTo>
                <a:lnTo>
                  <a:pt x="11561861" y="3293995"/>
                </a:lnTo>
                <a:lnTo>
                  <a:pt x="11547103" y="3317240"/>
                </a:lnTo>
                <a:lnTo>
                  <a:pt x="11528656" y="3338607"/>
                </a:lnTo>
                <a:lnTo>
                  <a:pt x="8594293" y="6272970"/>
                </a:lnTo>
                <a:lnTo>
                  <a:pt x="8574269" y="6291256"/>
                </a:lnTo>
                <a:lnTo>
                  <a:pt x="8551665" y="6308795"/>
                </a:lnTo>
                <a:lnTo>
                  <a:pt x="8526868" y="6325427"/>
                </a:lnTo>
                <a:lnTo>
                  <a:pt x="8500266" y="6340990"/>
                </a:lnTo>
                <a:lnTo>
                  <a:pt x="8472247" y="6355324"/>
                </a:lnTo>
                <a:lnTo>
                  <a:pt x="8443197" y="6368268"/>
                </a:lnTo>
                <a:lnTo>
                  <a:pt x="8413505" y="6379662"/>
                </a:lnTo>
                <a:lnTo>
                  <a:pt x="8383557" y="6389344"/>
                </a:lnTo>
                <a:lnTo>
                  <a:pt x="8353743" y="6397155"/>
                </a:lnTo>
                <a:lnTo>
                  <a:pt x="8324447" y="6402933"/>
                </a:lnTo>
                <a:lnTo>
                  <a:pt x="8296061" y="6406517"/>
                </a:lnTo>
                <a:lnTo>
                  <a:pt x="8268969" y="6407748"/>
                </a:lnTo>
                <a:lnTo>
                  <a:pt x="190579" y="6407722"/>
                </a:lnTo>
                <a:lnTo>
                  <a:pt x="162420" y="6405662"/>
                </a:lnTo>
                <a:lnTo>
                  <a:pt x="135543" y="6399663"/>
                </a:lnTo>
                <a:lnTo>
                  <a:pt x="110243" y="6390022"/>
                </a:lnTo>
                <a:lnTo>
                  <a:pt x="86815" y="6377034"/>
                </a:lnTo>
                <a:lnTo>
                  <a:pt x="65554" y="6360992"/>
                </a:lnTo>
                <a:lnTo>
                  <a:pt x="46755" y="6342193"/>
                </a:lnTo>
                <a:lnTo>
                  <a:pt x="30714" y="6320933"/>
                </a:lnTo>
                <a:lnTo>
                  <a:pt x="17725" y="6297504"/>
                </a:lnTo>
                <a:lnTo>
                  <a:pt x="8084" y="6272204"/>
                </a:lnTo>
                <a:lnTo>
                  <a:pt x="2085" y="6245327"/>
                </a:lnTo>
                <a:lnTo>
                  <a:pt x="25" y="6217169"/>
                </a:lnTo>
                <a:lnTo>
                  <a:pt x="0" y="190573"/>
                </a:lnTo>
                <a:lnTo>
                  <a:pt x="2067" y="162408"/>
                </a:lnTo>
                <a:lnTo>
                  <a:pt x="8070" y="135526"/>
                </a:lnTo>
                <a:lnTo>
                  <a:pt x="17715" y="110223"/>
                </a:lnTo>
                <a:lnTo>
                  <a:pt x="30708" y="86792"/>
                </a:lnTo>
                <a:lnTo>
                  <a:pt x="46751" y="65529"/>
                </a:lnTo>
                <a:lnTo>
                  <a:pt x="65552" y="46730"/>
                </a:lnTo>
                <a:lnTo>
                  <a:pt x="86814" y="30688"/>
                </a:lnTo>
                <a:lnTo>
                  <a:pt x="110243" y="17699"/>
                </a:lnTo>
                <a:lnTo>
                  <a:pt x="135543" y="8059"/>
                </a:lnTo>
                <a:lnTo>
                  <a:pt x="162420" y="206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Send artwork to back once plac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7092950" cy="5794739"/>
          </a:xfr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00" b="1" i="0" kern="1200" dirty="0">
                <a:solidFill>
                  <a:schemeClr val="bg1"/>
                </a:solidFill>
                <a:effectLst>
                  <a:outerShdw blurRad="179834" dist="38100" dir="5400000" algn="t" rotWithShape="0">
                    <a:prstClr val="black">
                      <a:alpha val="18000"/>
                    </a:prstClr>
                  </a:outerShdw>
                </a:effectLst>
                <a:latin typeface="Lato" panose="020F0502020204030203" pitchFamily="34" charset="77"/>
                <a:ea typeface="+mj-ea"/>
                <a:cs typeface="+mj-cs"/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5271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phic 23">
            <a:extLst>
              <a:ext uri="{FF2B5EF4-FFF2-40B4-BE49-F238E27FC236}">
                <a16:creationId xmlns:a16="http://schemas.microsoft.com/office/drawing/2014/main" id="{DD84861D-6207-1B42-2CA3-E09B484DC4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7092950" cy="5794739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  <a:effectLst>
                  <a:outerShdw blurRad="179834" dist="38100" dir="5400000" algn="t" rotWithShape="0">
                    <a:prstClr val="black">
                      <a:alpha val="18000"/>
                    </a:prstClr>
                  </a:outerShdw>
                </a:effectLst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FDB3624-272D-C3A2-57FA-4F85DBEE78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9872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892BC74-654A-9BEC-9279-18FCCC28EC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B3A3922-1D64-7FB3-8DEB-465A8C9A79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7092950" cy="5794739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  <a:effectLst>
                  <a:outerShdw blurRad="179834" dist="38100" dir="5400000" algn="t" rotWithShape="0">
                    <a:prstClr val="black">
                      <a:alpha val="18000"/>
                    </a:prstClr>
                  </a:outerShdw>
                </a:effectLst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3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7C699FB5-1839-B940-74D3-8E21A36923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DEBCF95-18F2-DD6B-4294-FDF600A3F3B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7092950" cy="5794739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  <a:effectLst>
                  <a:outerShdw blurRad="179834" dist="38100" dir="5400000" algn="t" rotWithShape="0">
                    <a:prstClr val="black">
                      <a:alpha val="18000"/>
                    </a:prstClr>
                  </a:outerShdw>
                </a:effectLst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5812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FECD065-C33A-4AD3-BF37-3B7A6FE64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7D3440FA-C314-52F8-14AD-F9879EE045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7092950" cy="5794739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  <a:effectLst>
                  <a:outerShdw blurRad="179834" dist="38100" dir="5400000" algn="t" rotWithShape="0">
                    <a:prstClr val="black">
                      <a:alpha val="18000"/>
                    </a:prstClr>
                  </a:outerShdw>
                </a:effectLst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3884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5EB3B79-3E11-8DB9-C815-63DCD8C560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F46D-C906-E514-9CA4-09BA89072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7092950" cy="5794739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  <a:effectLst>
                  <a:outerShdw blurRad="179834" dist="38100" dir="5400000" algn="t" rotWithShape="0">
                    <a:prstClr val="black">
                      <a:alpha val="18000"/>
                    </a:prstClr>
                  </a:outerShdw>
                </a:effectLst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66E71A9-6565-858D-8CBF-81DA8F7A4B2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6479" y="6453672"/>
            <a:ext cx="1001032" cy="26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9836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llout quote"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C509824-AD8A-217C-C51C-55D0303423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1304925"/>
            <a:ext cx="1428855" cy="151695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1AABB5F-9386-1249-D7FC-E49786CC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3974" y="1309476"/>
            <a:ext cx="7442726" cy="3553777"/>
          </a:xfrm>
        </p:spPr>
        <p:txBody>
          <a:bodyPr anchor="t"/>
          <a:lstStyle>
            <a:lvl1pPr>
              <a:defRPr sz="3400">
                <a:solidFill>
                  <a:schemeClr val="tx2"/>
                </a:solidFill>
              </a:defRPr>
            </a:lvl1pPr>
          </a:lstStyle>
          <a:p>
            <a:r>
              <a:rPr lang="en-GB"/>
              <a:t>Quote slide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A75EC0-D039-E47F-8CF3-D02BD51AB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4500" y="5181599"/>
            <a:ext cx="7442200" cy="366925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DCB4051-5DF1-B9E4-1EF5-9C73D740DF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4500" y="5548524"/>
            <a:ext cx="7442200" cy="366925"/>
          </a:xfrm>
        </p:spPr>
        <p:txBody>
          <a:bodyPr/>
          <a:lstStyle>
            <a:lvl1pPr>
              <a:defRPr sz="1800" b="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00575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1AABB5F-9386-1249-D7FC-E49786CC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10980734" cy="5794739"/>
          </a:xfrm>
        </p:spPr>
        <p:txBody>
          <a:bodyPr anchor="ctr"/>
          <a:lstStyle>
            <a:lvl1pPr algn="ctr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58E8ABF-D092-DB47-DC47-53C7442ABB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35" y="6553131"/>
            <a:ext cx="651323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8710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message 1"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1AABB5F-9386-1249-D7FC-E49786CC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495225"/>
            <a:ext cx="10980734" cy="5794739"/>
          </a:xfrm>
        </p:spPr>
        <p:txBody>
          <a:bodyPr anchor="ctr"/>
          <a:lstStyle>
            <a:lvl1pPr algn="ctr">
              <a:defRPr sz="3400">
                <a:solidFill>
                  <a:schemeClr val="tx2"/>
                </a:solidFill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01040A8-A8DD-5DA7-7335-9F7698CCE7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198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29104-F835-CE59-0B7F-3FE7B76D87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C7A29F-62CB-E601-51FB-FBF076AA99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89074" y="6520347"/>
            <a:ext cx="260001" cy="239507"/>
          </a:xfrm>
        </p:spPr>
        <p:txBody>
          <a:bodyPr/>
          <a:lstStyle/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57F5C1-FC28-AE85-FDEF-4A7C9330A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FA2A604-9A9C-E46F-6577-FDB0622E74B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2471" y="1664362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A4950D5-C7B7-79C1-5A3A-267273B65E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88069" y="1943091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52E0E9E-C3A4-B22B-68C6-886563FF26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87328" y="2277370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DB75479E-22FD-8519-1485-63FDC73A6BC8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4484463" y="1664362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9AD025C7-EEDB-1B7B-6CD2-F1DF468A6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30061" y="1943091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90425F82-BE9C-8B89-311E-47DA45FC50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9320" y="2277370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B757A0BB-9DA6-FEC8-DB7F-893B6B4857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227938" y="1664362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45E678A2-6BCD-B831-AD63-53FA123D33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73536" y="1943091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79318F43-7EBB-84AD-CAB9-0253418F2EB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72795" y="2277370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62D45BA2-5D6F-10B4-5E78-C67503ABAA97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42471" y="2902814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6FD3AABD-EC33-83EA-2E36-CBC94070EC9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88069" y="3181543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8CCB704A-3684-F5E9-F827-99EE1E038F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87328" y="3515822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124D8C50-6CDE-6F0E-74B4-AB6EB5A0C185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4484463" y="2902814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80453DAB-9979-B6D3-439D-3E15DD42E5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30061" y="3181543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C8CA793F-57F5-4B5E-E291-57D26D2D7D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9320" y="3515822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A1385441-852F-0DA5-4795-9043B18A6005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8227938" y="2902814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3CFE610-D650-75BF-4AF8-58D3F9F306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373536" y="3181543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5F7C1426-A3DB-EE60-4F07-7F7C1966CD4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72795" y="3515822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35" name="Picture Placeholder 14">
            <a:extLst>
              <a:ext uri="{FF2B5EF4-FFF2-40B4-BE49-F238E27FC236}">
                <a16:creationId xmlns:a16="http://schemas.microsoft.com/office/drawing/2014/main" id="{D36A4D8D-C11A-44F9-7686-5EE8B941B4B0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742471" y="4141266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6331B233-C777-FB20-51B8-1EAAD409957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88069" y="4419995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7" name="Text Placeholder 18">
            <a:extLst>
              <a:ext uri="{FF2B5EF4-FFF2-40B4-BE49-F238E27FC236}">
                <a16:creationId xmlns:a16="http://schemas.microsoft.com/office/drawing/2014/main" id="{2459953A-3616-95A5-9D6A-1ECB7DE18A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87328" y="4754274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38" name="Picture Placeholder 14">
            <a:extLst>
              <a:ext uri="{FF2B5EF4-FFF2-40B4-BE49-F238E27FC236}">
                <a16:creationId xmlns:a16="http://schemas.microsoft.com/office/drawing/2014/main" id="{6A62A9FC-376D-6C20-3B7A-790ED7D6C24C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84463" y="4141266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DE9B84A1-CC40-969C-5316-4799527DB73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630061" y="4419995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FF8FF58-1AE4-601F-5319-5D63CB1C029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629320" y="4754274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41" name="Picture Placeholder 14">
            <a:extLst>
              <a:ext uri="{FF2B5EF4-FFF2-40B4-BE49-F238E27FC236}">
                <a16:creationId xmlns:a16="http://schemas.microsoft.com/office/drawing/2014/main" id="{7F5B60DB-754F-625C-4F2C-6B9E561E8D79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8227938" y="4141266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D71DA26E-2E9A-0BBE-361D-F402677F5A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73536" y="4419995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EEED764E-4397-D733-5385-F386E5D2263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372795" y="4754274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53" name="Picture Placeholder 14">
            <a:extLst>
              <a:ext uri="{FF2B5EF4-FFF2-40B4-BE49-F238E27FC236}">
                <a16:creationId xmlns:a16="http://schemas.microsoft.com/office/drawing/2014/main" id="{E1A5D3A5-2F1B-7FB4-D15B-5784827AAB88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742471" y="5368024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4" name="Text Placeholder 16">
            <a:extLst>
              <a:ext uri="{FF2B5EF4-FFF2-40B4-BE49-F238E27FC236}">
                <a16:creationId xmlns:a16="http://schemas.microsoft.com/office/drawing/2014/main" id="{3A28B6C3-22C7-DAE6-6103-45557C8BD42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888069" y="5646753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E73D6A83-441A-EAD4-2820-855AA65D3FA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887328" y="5981032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56" name="Picture Placeholder 14">
            <a:extLst>
              <a:ext uri="{FF2B5EF4-FFF2-40B4-BE49-F238E27FC236}">
                <a16:creationId xmlns:a16="http://schemas.microsoft.com/office/drawing/2014/main" id="{B105DE08-1546-4730-DF9C-DD7FBE7B4DEA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4484463" y="5368024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7" name="Text Placeholder 16">
            <a:extLst>
              <a:ext uri="{FF2B5EF4-FFF2-40B4-BE49-F238E27FC236}">
                <a16:creationId xmlns:a16="http://schemas.microsoft.com/office/drawing/2014/main" id="{51779F1C-74DC-95B1-A068-00879C783CC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630061" y="5646753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58" name="Text Placeholder 18">
            <a:extLst>
              <a:ext uri="{FF2B5EF4-FFF2-40B4-BE49-F238E27FC236}">
                <a16:creationId xmlns:a16="http://schemas.microsoft.com/office/drawing/2014/main" id="{D3957845-736A-B561-E38A-8D8B7736609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29320" y="5981032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59" name="Picture Placeholder 14">
            <a:extLst>
              <a:ext uri="{FF2B5EF4-FFF2-40B4-BE49-F238E27FC236}">
                <a16:creationId xmlns:a16="http://schemas.microsoft.com/office/drawing/2014/main" id="{58EF7D6A-EFBB-AD76-E880-DBDB3F924DEA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8227938" y="5368024"/>
            <a:ext cx="942504" cy="942504"/>
          </a:xfrm>
          <a:prstGeom prst="roundRect">
            <a:avLst>
              <a:gd name="adj" fmla="val 1024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60" name="Text Placeholder 16">
            <a:extLst>
              <a:ext uri="{FF2B5EF4-FFF2-40B4-BE49-F238E27FC236}">
                <a16:creationId xmlns:a16="http://schemas.microsoft.com/office/drawing/2014/main" id="{F34EAC03-8072-1F29-28E8-D8ED64D72B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73536" y="5646753"/>
            <a:ext cx="2100262" cy="301625"/>
          </a:xfrm>
        </p:spPr>
        <p:txBody>
          <a:bodyPr tIns="0" rIns="0" bIns="0" anchor="b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0A43BBE7-E79F-DAEC-5EDA-DA26DA4D7BD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72795" y="5981032"/>
            <a:ext cx="2100262" cy="234950"/>
          </a:xfrm>
        </p:spPr>
        <p:txBody>
          <a:bodyPr tIns="0" rIns="0" bIns="0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1720928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63E4A44-1EFF-959B-C411-EDCD689266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17913" y="726541"/>
            <a:ext cx="8556174" cy="533210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1AABB5F-9386-1249-D7FC-E49786CC5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9777" y="495225"/>
            <a:ext cx="8172446" cy="5794739"/>
          </a:xfrm>
        </p:spPr>
        <p:txBody>
          <a:bodyPr anchor="ctr"/>
          <a:lstStyle>
            <a:lvl1pPr algn="ctr">
              <a:defRPr sz="34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3858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message 2"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63E4A44-1EFF-959B-C411-EDCD689266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17913" y="726541"/>
            <a:ext cx="8556174" cy="533210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1AABB5F-9386-1249-D7FC-E49786CC5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9777" y="495225"/>
            <a:ext cx="8172446" cy="5794739"/>
          </a:xfrm>
        </p:spPr>
        <p:txBody>
          <a:bodyPr anchor="ctr"/>
          <a:lstStyle>
            <a:lvl1pPr algn="ctr">
              <a:defRPr sz="340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6000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Closing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63E4A44-1EFF-959B-C411-EDCD689266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17913" y="726541"/>
            <a:ext cx="8556174" cy="533210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1AABB5F-9386-1249-D7FC-E49786CC5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9777" y="653730"/>
            <a:ext cx="8172446" cy="5477730"/>
          </a:xfrm>
        </p:spPr>
        <p:txBody>
          <a:bodyPr anchor="ctr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E99997E-D64E-8488-417F-C48954ED8B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2681" y="5696396"/>
            <a:ext cx="1830338" cy="48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1935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ternal Closing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AC704CA0-BE94-45D0-4D53-D1CABB70875D}"/>
              </a:ext>
            </a:extLst>
          </p:cNvPr>
          <p:cNvSpPr/>
          <p:nvPr userDrawn="1"/>
        </p:nvSpPr>
        <p:spPr>
          <a:xfrm>
            <a:off x="9856119" y="5723235"/>
            <a:ext cx="327925" cy="327925"/>
          </a:xfrm>
          <a:prstGeom prst="roundRect">
            <a:avLst>
              <a:gd name="adj" fmla="val 10858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BE485E69-E517-D8C0-2CB1-B0A04C0390CA}"/>
              </a:ext>
            </a:extLst>
          </p:cNvPr>
          <p:cNvSpPr/>
          <p:nvPr userDrawn="1"/>
        </p:nvSpPr>
        <p:spPr>
          <a:xfrm>
            <a:off x="10226800" y="5723235"/>
            <a:ext cx="327925" cy="327925"/>
          </a:xfrm>
          <a:prstGeom prst="roundRect">
            <a:avLst>
              <a:gd name="adj" fmla="val 10858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97ED5CED-A24C-BB48-5AA2-3D3B91C227F9}"/>
              </a:ext>
            </a:extLst>
          </p:cNvPr>
          <p:cNvSpPr/>
          <p:nvPr userDrawn="1"/>
        </p:nvSpPr>
        <p:spPr>
          <a:xfrm>
            <a:off x="10597481" y="5723235"/>
            <a:ext cx="327925" cy="327925"/>
          </a:xfrm>
          <a:prstGeom prst="roundRect">
            <a:avLst>
              <a:gd name="adj" fmla="val 10858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2E20A8A2-BA74-069C-480E-B9C2807BF59B}"/>
              </a:ext>
            </a:extLst>
          </p:cNvPr>
          <p:cNvSpPr/>
          <p:nvPr userDrawn="1"/>
        </p:nvSpPr>
        <p:spPr>
          <a:xfrm>
            <a:off x="10968162" y="5723235"/>
            <a:ext cx="327925" cy="327925"/>
          </a:xfrm>
          <a:prstGeom prst="roundRect">
            <a:avLst>
              <a:gd name="adj" fmla="val 10858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BC1468B4-171B-22DA-ADBE-99E52D920681}"/>
              </a:ext>
            </a:extLst>
          </p:cNvPr>
          <p:cNvSpPr/>
          <p:nvPr userDrawn="1"/>
        </p:nvSpPr>
        <p:spPr>
          <a:xfrm>
            <a:off x="11338844" y="5723235"/>
            <a:ext cx="327925" cy="327925"/>
          </a:xfrm>
          <a:prstGeom prst="roundRect">
            <a:avLst>
              <a:gd name="adj" fmla="val 10858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63E4A44-1EFF-959B-C411-EDCD689266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17913" y="726541"/>
            <a:ext cx="8556174" cy="533210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1AABB5F-9386-1249-D7FC-E49786CC5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9777" y="653730"/>
            <a:ext cx="8172446" cy="5477730"/>
          </a:xfrm>
        </p:spPr>
        <p:txBody>
          <a:bodyPr anchor="ctr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E99997E-D64E-8488-417F-C48954ED8B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56119" y="4804102"/>
            <a:ext cx="1807724" cy="4796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A319BFB-083F-3761-519D-427ED9266A97}"/>
              </a:ext>
            </a:extLst>
          </p:cNvPr>
          <p:cNvSpPr txBox="1"/>
          <p:nvPr userDrawn="1"/>
        </p:nvSpPr>
        <p:spPr>
          <a:xfrm>
            <a:off x="9769699" y="5440675"/>
            <a:ext cx="22854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solidFill>
                  <a:schemeClr val="bg1"/>
                </a:solidFill>
              </a:rPr>
              <a:t>Follow us: </a:t>
            </a:r>
            <a:r>
              <a:rPr lang="en-GB" sz="1200" b="1" err="1">
                <a:solidFill>
                  <a:schemeClr val="bg1"/>
                </a:solidFill>
              </a:rPr>
              <a:t>www.ipsen.com</a:t>
            </a:r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23" name="Freeform 23">
            <a:extLst>
              <a:ext uri="{FF2B5EF4-FFF2-40B4-BE49-F238E27FC236}">
                <a16:creationId xmlns:a16="http://schemas.microsoft.com/office/drawing/2014/main" id="{B2950653-AB69-739C-8713-5BE64550F61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041517" y="5792604"/>
            <a:ext cx="185074" cy="189187"/>
          </a:xfrm>
          <a:custGeom>
            <a:avLst/>
            <a:gdLst>
              <a:gd name="T0" fmla="*/ 38 w 45"/>
              <a:gd name="T1" fmla="*/ 0 h 46"/>
              <a:gd name="T2" fmla="*/ 7 w 45"/>
              <a:gd name="T3" fmla="*/ 0 h 46"/>
              <a:gd name="T4" fmla="*/ 0 w 45"/>
              <a:gd name="T5" fmla="*/ 7 h 46"/>
              <a:gd name="T6" fmla="*/ 0 w 45"/>
              <a:gd name="T7" fmla="*/ 15 h 46"/>
              <a:gd name="T8" fmla="*/ 11 w 45"/>
              <a:gd name="T9" fmla="*/ 15 h 46"/>
              <a:gd name="T10" fmla="*/ 22 w 45"/>
              <a:gd name="T11" fmla="*/ 9 h 46"/>
              <a:gd name="T12" fmla="*/ 33 w 45"/>
              <a:gd name="T13" fmla="*/ 15 h 46"/>
              <a:gd name="T14" fmla="*/ 45 w 45"/>
              <a:gd name="T15" fmla="*/ 15 h 46"/>
              <a:gd name="T16" fmla="*/ 45 w 45"/>
              <a:gd name="T17" fmla="*/ 7 h 46"/>
              <a:gd name="T18" fmla="*/ 38 w 45"/>
              <a:gd name="T19" fmla="*/ 0 h 46"/>
              <a:gd name="T20" fmla="*/ 41 w 45"/>
              <a:gd name="T21" fmla="*/ 9 h 46"/>
              <a:gd name="T22" fmla="*/ 40 w 45"/>
              <a:gd name="T23" fmla="*/ 10 h 46"/>
              <a:gd name="T24" fmla="*/ 36 w 45"/>
              <a:gd name="T25" fmla="*/ 10 h 46"/>
              <a:gd name="T26" fmla="*/ 34 w 45"/>
              <a:gd name="T27" fmla="*/ 9 h 46"/>
              <a:gd name="T28" fmla="*/ 34 w 45"/>
              <a:gd name="T29" fmla="*/ 6 h 46"/>
              <a:gd name="T30" fmla="*/ 36 w 45"/>
              <a:gd name="T31" fmla="*/ 4 h 46"/>
              <a:gd name="T32" fmla="*/ 40 w 45"/>
              <a:gd name="T33" fmla="*/ 4 h 46"/>
              <a:gd name="T34" fmla="*/ 41 w 45"/>
              <a:gd name="T35" fmla="*/ 6 h 46"/>
              <a:gd name="T36" fmla="*/ 41 w 45"/>
              <a:gd name="T37" fmla="*/ 9 h 46"/>
              <a:gd name="T38" fmla="*/ 31 w 45"/>
              <a:gd name="T39" fmla="*/ 23 h 46"/>
              <a:gd name="T40" fmla="*/ 22 w 45"/>
              <a:gd name="T41" fmla="*/ 14 h 46"/>
              <a:gd name="T42" fmla="*/ 14 w 45"/>
              <a:gd name="T43" fmla="*/ 23 h 46"/>
              <a:gd name="T44" fmla="*/ 22 w 45"/>
              <a:gd name="T45" fmla="*/ 31 h 46"/>
              <a:gd name="T46" fmla="*/ 31 w 45"/>
              <a:gd name="T47" fmla="*/ 23 h 46"/>
              <a:gd name="T48" fmla="*/ 36 w 45"/>
              <a:gd name="T49" fmla="*/ 23 h 46"/>
              <a:gd name="T50" fmla="*/ 22 w 45"/>
              <a:gd name="T51" fmla="*/ 37 h 46"/>
              <a:gd name="T52" fmla="*/ 8 w 45"/>
              <a:gd name="T53" fmla="*/ 23 h 46"/>
              <a:gd name="T54" fmla="*/ 9 w 45"/>
              <a:gd name="T55" fmla="*/ 21 h 46"/>
              <a:gd name="T56" fmla="*/ 0 w 45"/>
              <a:gd name="T57" fmla="*/ 21 h 46"/>
              <a:gd name="T58" fmla="*/ 0 w 45"/>
              <a:gd name="T59" fmla="*/ 38 h 46"/>
              <a:gd name="T60" fmla="*/ 7 w 45"/>
              <a:gd name="T61" fmla="*/ 46 h 46"/>
              <a:gd name="T62" fmla="*/ 38 w 45"/>
              <a:gd name="T63" fmla="*/ 46 h 46"/>
              <a:gd name="T64" fmla="*/ 45 w 45"/>
              <a:gd name="T65" fmla="*/ 38 h 46"/>
              <a:gd name="T66" fmla="*/ 45 w 45"/>
              <a:gd name="T67" fmla="*/ 21 h 46"/>
              <a:gd name="T68" fmla="*/ 35 w 45"/>
              <a:gd name="T69" fmla="*/ 21 h 46"/>
              <a:gd name="T70" fmla="*/ 36 w 45"/>
              <a:gd name="T71" fmla="*/ 2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46">
                <a:moveTo>
                  <a:pt x="38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4"/>
                  <a:pt x="0" y="7"/>
                </a:cubicBezTo>
                <a:cubicBezTo>
                  <a:pt x="0" y="15"/>
                  <a:pt x="0" y="15"/>
                  <a:pt x="0" y="15"/>
                </a:cubicBezTo>
                <a:cubicBezTo>
                  <a:pt x="11" y="15"/>
                  <a:pt x="11" y="15"/>
                  <a:pt x="11" y="15"/>
                </a:cubicBezTo>
                <a:cubicBezTo>
                  <a:pt x="14" y="11"/>
                  <a:pt x="18" y="9"/>
                  <a:pt x="22" y="9"/>
                </a:cubicBezTo>
                <a:cubicBezTo>
                  <a:pt x="27" y="9"/>
                  <a:pt x="31" y="11"/>
                  <a:pt x="33" y="15"/>
                </a:cubicBezTo>
                <a:cubicBezTo>
                  <a:pt x="45" y="15"/>
                  <a:pt x="45" y="15"/>
                  <a:pt x="45" y="15"/>
                </a:cubicBezTo>
                <a:cubicBezTo>
                  <a:pt x="45" y="7"/>
                  <a:pt x="45" y="7"/>
                  <a:pt x="45" y="7"/>
                </a:cubicBezTo>
                <a:cubicBezTo>
                  <a:pt x="45" y="4"/>
                  <a:pt x="42" y="0"/>
                  <a:pt x="38" y="0"/>
                </a:cubicBezTo>
                <a:close/>
                <a:moveTo>
                  <a:pt x="41" y="9"/>
                </a:moveTo>
                <a:cubicBezTo>
                  <a:pt x="41" y="9"/>
                  <a:pt x="41" y="10"/>
                  <a:pt x="40" y="10"/>
                </a:cubicBezTo>
                <a:cubicBezTo>
                  <a:pt x="36" y="10"/>
                  <a:pt x="36" y="10"/>
                  <a:pt x="36" y="10"/>
                </a:cubicBezTo>
                <a:cubicBezTo>
                  <a:pt x="35" y="10"/>
                  <a:pt x="34" y="9"/>
                  <a:pt x="34" y="9"/>
                </a:cubicBezTo>
                <a:cubicBezTo>
                  <a:pt x="34" y="6"/>
                  <a:pt x="34" y="6"/>
                  <a:pt x="34" y="6"/>
                </a:cubicBezTo>
                <a:cubicBezTo>
                  <a:pt x="34" y="5"/>
                  <a:pt x="35" y="4"/>
                  <a:pt x="36" y="4"/>
                </a:cubicBezTo>
                <a:cubicBezTo>
                  <a:pt x="40" y="4"/>
                  <a:pt x="40" y="4"/>
                  <a:pt x="40" y="4"/>
                </a:cubicBezTo>
                <a:cubicBezTo>
                  <a:pt x="41" y="4"/>
                  <a:pt x="41" y="5"/>
                  <a:pt x="41" y="6"/>
                </a:cubicBezTo>
                <a:lnTo>
                  <a:pt x="41" y="9"/>
                </a:lnTo>
                <a:close/>
                <a:moveTo>
                  <a:pt x="31" y="23"/>
                </a:moveTo>
                <a:cubicBezTo>
                  <a:pt x="31" y="18"/>
                  <a:pt x="27" y="14"/>
                  <a:pt x="22" y="14"/>
                </a:cubicBezTo>
                <a:cubicBezTo>
                  <a:pt x="18" y="14"/>
                  <a:pt x="14" y="18"/>
                  <a:pt x="14" y="23"/>
                </a:cubicBezTo>
                <a:cubicBezTo>
                  <a:pt x="14" y="27"/>
                  <a:pt x="18" y="31"/>
                  <a:pt x="22" y="31"/>
                </a:cubicBezTo>
                <a:cubicBezTo>
                  <a:pt x="27" y="31"/>
                  <a:pt x="31" y="27"/>
                  <a:pt x="31" y="23"/>
                </a:cubicBezTo>
                <a:close/>
                <a:moveTo>
                  <a:pt x="36" y="23"/>
                </a:moveTo>
                <a:cubicBezTo>
                  <a:pt x="36" y="30"/>
                  <a:pt x="30" y="37"/>
                  <a:pt x="22" y="37"/>
                </a:cubicBezTo>
                <a:cubicBezTo>
                  <a:pt x="15" y="37"/>
                  <a:pt x="8" y="30"/>
                  <a:pt x="8" y="23"/>
                </a:cubicBezTo>
                <a:cubicBezTo>
                  <a:pt x="8" y="21"/>
                  <a:pt x="9" y="21"/>
                  <a:pt x="9" y="21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42"/>
                  <a:pt x="3" y="46"/>
                  <a:pt x="7" y="46"/>
                </a:cubicBezTo>
                <a:cubicBezTo>
                  <a:pt x="38" y="46"/>
                  <a:pt x="38" y="46"/>
                  <a:pt x="38" y="46"/>
                </a:cubicBezTo>
                <a:cubicBezTo>
                  <a:pt x="42" y="46"/>
                  <a:pt x="45" y="42"/>
                  <a:pt x="45" y="38"/>
                </a:cubicBezTo>
                <a:cubicBezTo>
                  <a:pt x="45" y="21"/>
                  <a:pt x="45" y="21"/>
                  <a:pt x="45" y="21"/>
                </a:cubicBezTo>
                <a:cubicBezTo>
                  <a:pt x="35" y="21"/>
                  <a:pt x="35" y="21"/>
                  <a:pt x="35" y="21"/>
                </a:cubicBezTo>
                <a:cubicBezTo>
                  <a:pt x="35" y="21"/>
                  <a:pt x="36" y="21"/>
                  <a:pt x="36" y="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sp>
        <p:nvSpPr>
          <p:cNvPr id="24" name="Freeform 30">
            <a:extLst>
              <a:ext uri="{FF2B5EF4-FFF2-40B4-BE49-F238E27FC236}">
                <a16:creationId xmlns:a16="http://schemas.microsoft.com/office/drawing/2014/main" id="{BA30B0B6-DA04-28DC-4AC2-29BC0EEA05A6}"/>
              </a:ext>
            </a:extLst>
          </p:cNvPr>
          <p:cNvSpPr>
            <a:spLocks/>
          </p:cNvSpPr>
          <p:nvPr userDrawn="1"/>
        </p:nvSpPr>
        <p:spPr bwMode="auto">
          <a:xfrm>
            <a:off x="10704733" y="5792604"/>
            <a:ext cx="102819" cy="193300"/>
          </a:xfrm>
          <a:custGeom>
            <a:avLst/>
            <a:gdLst>
              <a:gd name="T0" fmla="*/ 18 w 25"/>
              <a:gd name="T1" fmla="*/ 8 h 47"/>
              <a:gd name="T2" fmla="*/ 25 w 25"/>
              <a:gd name="T3" fmla="*/ 8 h 47"/>
              <a:gd name="T4" fmla="*/ 25 w 25"/>
              <a:gd name="T5" fmla="*/ 0 h 47"/>
              <a:gd name="T6" fmla="*/ 18 w 25"/>
              <a:gd name="T7" fmla="*/ 0 h 47"/>
              <a:gd name="T8" fmla="*/ 8 w 25"/>
              <a:gd name="T9" fmla="*/ 12 h 47"/>
              <a:gd name="T10" fmla="*/ 8 w 25"/>
              <a:gd name="T11" fmla="*/ 16 h 47"/>
              <a:gd name="T12" fmla="*/ 0 w 25"/>
              <a:gd name="T13" fmla="*/ 16 h 47"/>
              <a:gd name="T14" fmla="*/ 0 w 25"/>
              <a:gd name="T15" fmla="*/ 24 h 47"/>
              <a:gd name="T16" fmla="*/ 8 w 25"/>
              <a:gd name="T17" fmla="*/ 24 h 47"/>
              <a:gd name="T18" fmla="*/ 8 w 25"/>
              <a:gd name="T19" fmla="*/ 47 h 47"/>
              <a:gd name="T20" fmla="*/ 16 w 25"/>
              <a:gd name="T21" fmla="*/ 47 h 47"/>
              <a:gd name="T22" fmla="*/ 16 w 25"/>
              <a:gd name="T23" fmla="*/ 24 h 47"/>
              <a:gd name="T24" fmla="*/ 25 w 25"/>
              <a:gd name="T25" fmla="*/ 24 h 47"/>
              <a:gd name="T26" fmla="*/ 25 w 25"/>
              <a:gd name="T27" fmla="*/ 16 h 47"/>
              <a:gd name="T28" fmla="*/ 16 w 25"/>
              <a:gd name="T29" fmla="*/ 16 h 47"/>
              <a:gd name="T30" fmla="*/ 16 w 25"/>
              <a:gd name="T31" fmla="*/ 11 h 47"/>
              <a:gd name="T32" fmla="*/ 18 w 25"/>
              <a:gd name="T33" fmla="*/ 8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5" h="47">
                <a:moveTo>
                  <a:pt x="18" y="8"/>
                </a:moveTo>
                <a:cubicBezTo>
                  <a:pt x="18" y="8"/>
                  <a:pt x="18" y="8"/>
                  <a:pt x="25" y="8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18" y="0"/>
                </a:cubicBezTo>
                <a:cubicBezTo>
                  <a:pt x="12" y="0"/>
                  <a:pt x="8" y="5"/>
                  <a:pt x="8" y="12"/>
                </a:cubicBezTo>
                <a:cubicBezTo>
                  <a:pt x="8" y="12"/>
                  <a:pt x="8" y="12"/>
                  <a:pt x="8" y="16"/>
                </a:cubicBezTo>
                <a:cubicBezTo>
                  <a:pt x="8" y="16"/>
                  <a:pt x="8" y="16"/>
                  <a:pt x="0" y="16"/>
                </a:cubicBezTo>
                <a:cubicBezTo>
                  <a:pt x="0" y="16"/>
                  <a:pt x="0" y="16"/>
                  <a:pt x="0" y="24"/>
                </a:cubicBezTo>
                <a:cubicBezTo>
                  <a:pt x="0" y="24"/>
                  <a:pt x="0" y="24"/>
                  <a:pt x="8" y="24"/>
                </a:cubicBezTo>
                <a:cubicBezTo>
                  <a:pt x="8" y="24"/>
                  <a:pt x="8" y="24"/>
                  <a:pt x="8" y="47"/>
                </a:cubicBezTo>
                <a:cubicBezTo>
                  <a:pt x="8" y="47"/>
                  <a:pt x="8" y="47"/>
                  <a:pt x="16" y="47"/>
                </a:cubicBezTo>
                <a:cubicBezTo>
                  <a:pt x="16" y="47"/>
                  <a:pt x="16" y="47"/>
                  <a:pt x="16" y="24"/>
                </a:cubicBezTo>
                <a:cubicBezTo>
                  <a:pt x="16" y="24"/>
                  <a:pt x="16" y="24"/>
                  <a:pt x="25" y="24"/>
                </a:cubicBezTo>
                <a:cubicBezTo>
                  <a:pt x="25" y="24"/>
                  <a:pt x="25" y="24"/>
                  <a:pt x="25" y="16"/>
                </a:cubicBezTo>
                <a:cubicBezTo>
                  <a:pt x="25" y="16"/>
                  <a:pt x="25" y="16"/>
                  <a:pt x="16" y="16"/>
                </a:cubicBezTo>
                <a:cubicBezTo>
                  <a:pt x="16" y="16"/>
                  <a:pt x="16" y="16"/>
                  <a:pt x="16" y="11"/>
                </a:cubicBezTo>
                <a:cubicBezTo>
                  <a:pt x="16" y="9"/>
                  <a:pt x="17" y="8"/>
                  <a:pt x="18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EE6A1A4A-6718-BBB9-8692-D598E7251DF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5978" y="5783803"/>
            <a:ext cx="228600" cy="228600"/>
          </a:xfrm>
          <a:prstGeom prst="rect">
            <a:avLst/>
          </a:prstGeom>
        </p:spPr>
      </p:pic>
      <p:sp>
        <p:nvSpPr>
          <p:cNvPr id="26" name="Freeform 33">
            <a:extLst>
              <a:ext uri="{FF2B5EF4-FFF2-40B4-BE49-F238E27FC236}">
                <a16:creationId xmlns:a16="http://schemas.microsoft.com/office/drawing/2014/main" id="{77B9B406-681A-4935-6E90-268A997B426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937751" y="5801811"/>
            <a:ext cx="167024" cy="170822"/>
          </a:xfrm>
          <a:custGeom>
            <a:avLst/>
            <a:gdLst>
              <a:gd name="T0" fmla="*/ 4 w 44"/>
              <a:gd name="T1" fmla="*/ 0 h 45"/>
              <a:gd name="T2" fmla="*/ 0 w 44"/>
              <a:gd name="T3" fmla="*/ 4 h 45"/>
              <a:gd name="T4" fmla="*/ 4 w 44"/>
              <a:gd name="T5" fmla="*/ 9 h 45"/>
              <a:gd name="T6" fmla="*/ 10 w 44"/>
              <a:gd name="T7" fmla="*/ 4 h 45"/>
              <a:gd name="T8" fmla="*/ 4 w 44"/>
              <a:gd name="T9" fmla="*/ 0 h 45"/>
              <a:gd name="T10" fmla="*/ 0 w 44"/>
              <a:gd name="T11" fmla="*/ 45 h 45"/>
              <a:gd name="T12" fmla="*/ 10 w 44"/>
              <a:gd name="T13" fmla="*/ 45 h 45"/>
              <a:gd name="T14" fmla="*/ 10 w 44"/>
              <a:gd name="T15" fmla="*/ 13 h 45"/>
              <a:gd name="T16" fmla="*/ 0 w 44"/>
              <a:gd name="T17" fmla="*/ 13 h 45"/>
              <a:gd name="T18" fmla="*/ 0 w 44"/>
              <a:gd name="T19" fmla="*/ 45 h 45"/>
              <a:gd name="T20" fmla="*/ 34 w 44"/>
              <a:gd name="T21" fmla="*/ 14 h 45"/>
              <a:gd name="T22" fmla="*/ 24 w 44"/>
              <a:gd name="T23" fmla="*/ 18 h 45"/>
              <a:gd name="T24" fmla="*/ 24 w 44"/>
              <a:gd name="T25" fmla="*/ 15 h 45"/>
              <a:gd name="T26" fmla="*/ 16 w 44"/>
              <a:gd name="T27" fmla="*/ 15 h 45"/>
              <a:gd name="T28" fmla="*/ 16 w 44"/>
              <a:gd name="T29" fmla="*/ 45 h 45"/>
              <a:gd name="T30" fmla="*/ 25 w 44"/>
              <a:gd name="T31" fmla="*/ 45 h 45"/>
              <a:gd name="T32" fmla="*/ 25 w 44"/>
              <a:gd name="T33" fmla="*/ 27 h 45"/>
              <a:gd name="T34" fmla="*/ 25 w 44"/>
              <a:gd name="T35" fmla="*/ 25 h 45"/>
              <a:gd name="T36" fmla="*/ 30 w 44"/>
              <a:gd name="T37" fmla="*/ 22 h 45"/>
              <a:gd name="T38" fmla="*/ 35 w 44"/>
              <a:gd name="T39" fmla="*/ 28 h 45"/>
              <a:gd name="T40" fmla="*/ 35 w 44"/>
              <a:gd name="T41" fmla="*/ 45 h 45"/>
              <a:gd name="T42" fmla="*/ 44 w 44"/>
              <a:gd name="T43" fmla="*/ 45 h 45"/>
              <a:gd name="T44" fmla="*/ 44 w 44"/>
              <a:gd name="T45" fmla="*/ 27 h 45"/>
              <a:gd name="T46" fmla="*/ 34 w 44"/>
              <a:gd name="T47" fmla="*/ 14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4" h="45">
                <a:moveTo>
                  <a:pt x="4" y="0"/>
                </a:moveTo>
                <a:cubicBezTo>
                  <a:pt x="1" y="0"/>
                  <a:pt x="0" y="2"/>
                  <a:pt x="0" y="4"/>
                </a:cubicBezTo>
                <a:cubicBezTo>
                  <a:pt x="0" y="7"/>
                  <a:pt x="1" y="9"/>
                  <a:pt x="4" y="9"/>
                </a:cubicBezTo>
                <a:cubicBezTo>
                  <a:pt x="8" y="9"/>
                  <a:pt x="10" y="7"/>
                  <a:pt x="10" y="4"/>
                </a:cubicBezTo>
                <a:cubicBezTo>
                  <a:pt x="10" y="2"/>
                  <a:pt x="8" y="0"/>
                  <a:pt x="4" y="0"/>
                </a:cubicBezTo>
                <a:close/>
                <a:moveTo>
                  <a:pt x="0" y="45"/>
                </a:moveTo>
                <a:cubicBezTo>
                  <a:pt x="10" y="45"/>
                  <a:pt x="10" y="45"/>
                  <a:pt x="10" y="45"/>
                </a:cubicBezTo>
                <a:cubicBezTo>
                  <a:pt x="10" y="45"/>
                  <a:pt x="10" y="45"/>
                  <a:pt x="10" y="13"/>
                </a:cubicBezTo>
                <a:cubicBezTo>
                  <a:pt x="10" y="13"/>
                  <a:pt x="10" y="13"/>
                  <a:pt x="0" y="13"/>
                </a:cubicBezTo>
                <a:cubicBezTo>
                  <a:pt x="0" y="13"/>
                  <a:pt x="0" y="13"/>
                  <a:pt x="0" y="45"/>
                </a:cubicBezTo>
                <a:close/>
                <a:moveTo>
                  <a:pt x="34" y="14"/>
                </a:moveTo>
                <a:cubicBezTo>
                  <a:pt x="29" y="14"/>
                  <a:pt x="25" y="17"/>
                  <a:pt x="24" y="18"/>
                </a:cubicBezTo>
                <a:cubicBezTo>
                  <a:pt x="24" y="18"/>
                  <a:pt x="24" y="18"/>
                  <a:pt x="24" y="15"/>
                </a:cubicBezTo>
                <a:cubicBezTo>
                  <a:pt x="24" y="15"/>
                  <a:pt x="24" y="15"/>
                  <a:pt x="16" y="15"/>
                </a:cubicBezTo>
                <a:cubicBezTo>
                  <a:pt x="16" y="45"/>
                  <a:pt x="16" y="45"/>
                  <a:pt x="16" y="45"/>
                </a:cubicBezTo>
                <a:cubicBezTo>
                  <a:pt x="16" y="45"/>
                  <a:pt x="16" y="45"/>
                  <a:pt x="25" y="45"/>
                </a:cubicBezTo>
                <a:cubicBezTo>
                  <a:pt x="25" y="45"/>
                  <a:pt x="25" y="45"/>
                  <a:pt x="25" y="27"/>
                </a:cubicBezTo>
                <a:cubicBezTo>
                  <a:pt x="25" y="26"/>
                  <a:pt x="25" y="25"/>
                  <a:pt x="25" y="25"/>
                </a:cubicBezTo>
                <a:cubicBezTo>
                  <a:pt x="26" y="24"/>
                  <a:pt x="28" y="22"/>
                  <a:pt x="30" y="22"/>
                </a:cubicBezTo>
                <a:cubicBezTo>
                  <a:pt x="34" y="22"/>
                  <a:pt x="35" y="25"/>
                  <a:pt x="35" y="28"/>
                </a:cubicBezTo>
                <a:cubicBezTo>
                  <a:pt x="35" y="28"/>
                  <a:pt x="35" y="28"/>
                  <a:pt x="35" y="45"/>
                </a:cubicBezTo>
                <a:cubicBezTo>
                  <a:pt x="35" y="45"/>
                  <a:pt x="35" y="45"/>
                  <a:pt x="44" y="45"/>
                </a:cubicBezTo>
                <a:cubicBezTo>
                  <a:pt x="44" y="45"/>
                  <a:pt x="44" y="45"/>
                  <a:pt x="44" y="27"/>
                </a:cubicBezTo>
                <a:cubicBezTo>
                  <a:pt x="44" y="18"/>
                  <a:pt x="40" y="14"/>
                  <a:pt x="34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61EFF6B-8E7F-1605-F611-365FD6C252B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389437" y="5809248"/>
            <a:ext cx="222711" cy="155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9591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ternal Closing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BD28C1-DF90-F659-7E81-36A5531FDF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89269" y="6516094"/>
            <a:ext cx="320129" cy="236433"/>
          </a:xfrm>
          <a:prstGeom prst="rect">
            <a:avLst/>
          </a:prstGeom>
        </p:spPr>
        <p:txBody>
          <a:bodyPr/>
          <a:lstStyle/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8D3807D-005D-1EA7-BDFB-14AAD01BA4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2" y="2639738"/>
            <a:ext cx="6761824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A3BF6F70-9846-908B-B946-BE2B152D4EED}"/>
              </a:ext>
            </a:extLst>
          </p:cNvPr>
          <p:cNvSpPr/>
          <p:nvPr userDrawn="1"/>
        </p:nvSpPr>
        <p:spPr>
          <a:xfrm>
            <a:off x="7504295" y="1"/>
            <a:ext cx="4687705" cy="6858000"/>
          </a:xfrm>
          <a:custGeom>
            <a:avLst/>
            <a:gdLst>
              <a:gd name="connsiteX0" fmla="*/ 45518 w 4687705"/>
              <a:gd name="connsiteY0" fmla="*/ 0 h 6904879"/>
              <a:gd name="connsiteX1" fmla="*/ 4687705 w 4687705"/>
              <a:gd name="connsiteY1" fmla="*/ 0 h 6904879"/>
              <a:gd name="connsiteX2" fmla="*/ 4687705 w 4687705"/>
              <a:gd name="connsiteY2" fmla="*/ 6904879 h 6904879"/>
              <a:gd name="connsiteX3" fmla="*/ 0 w 4687705"/>
              <a:gd name="connsiteY3" fmla="*/ 6904879 h 6904879"/>
              <a:gd name="connsiteX4" fmla="*/ 3201589 w 4687705"/>
              <a:gd name="connsiteY4" fmla="*/ 3584465 h 6904879"/>
              <a:gd name="connsiteX5" fmla="*/ 3222132 w 4687705"/>
              <a:gd name="connsiteY5" fmla="*/ 3559787 h 6904879"/>
              <a:gd name="connsiteX6" fmla="*/ 3238567 w 4687705"/>
              <a:gd name="connsiteY6" fmla="*/ 3532940 h 6904879"/>
              <a:gd name="connsiteX7" fmla="*/ 3250894 w 4687705"/>
              <a:gd name="connsiteY7" fmla="*/ 3504406 h 6904879"/>
              <a:gd name="connsiteX8" fmla="*/ 3259113 w 4687705"/>
              <a:gd name="connsiteY8" fmla="*/ 3474666 h 6904879"/>
              <a:gd name="connsiteX9" fmla="*/ 3263224 w 4687705"/>
              <a:gd name="connsiteY9" fmla="*/ 3444203 h 6904879"/>
              <a:gd name="connsiteX10" fmla="*/ 3263227 w 4687705"/>
              <a:gd name="connsiteY10" fmla="*/ 3413497 h 6904879"/>
              <a:gd name="connsiteX11" fmla="*/ 3259118 w 4687705"/>
              <a:gd name="connsiteY11" fmla="*/ 3383032 h 6904879"/>
              <a:gd name="connsiteX12" fmla="*/ 3250901 w 4687705"/>
              <a:gd name="connsiteY12" fmla="*/ 3353288 h 6904879"/>
              <a:gd name="connsiteX13" fmla="*/ 3238575 w 4687705"/>
              <a:gd name="connsiteY13" fmla="*/ 3324749 h 6904879"/>
              <a:gd name="connsiteX14" fmla="*/ 3222137 w 4687705"/>
              <a:gd name="connsiteY14" fmla="*/ 3297895 h 6904879"/>
              <a:gd name="connsiteX15" fmla="*/ 3201589 w 4687705"/>
              <a:gd name="connsiteY15" fmla="*/ 3273208 h 6904879"/>
              <a:gd name="connsiteX16" fmla="*/ 45518 w 4687705"/>
              <a:gd name="connsiteY16" fmla="*/ 0 h 690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687705" h="6904879">
                <a:moveTo>
                  <a:pt x="45518" y="0"/>
                </a:moveTo>
                <a:lnTo>
                  <a:pt x="4687705" y="0"/>
                </a:lnTo>
                <a:lnTo>
                  <a:pt x="4687705" y="6904879"/>
                </a:lnTo>
                <a:lnTo>
                  <a:pt x="0" y="6904879"/>
                </a:lnTo>
                <a:lnTo>
                  <a:pt x="3201589" y="3584465"/>
                </a:lnTo>
                <a:lnTo>
                  <a:pt x="3222132" y="3559787"/>
                </a:lnTo>
                <a:lnTo>
                  <a:pt x="3238567" y="3532940"/>
                </a:lnTo>
                <a:lnTo>
                  <a:pt x="3250894" y="3504406"/>
                </a:lnTo>
                <a:lnTo>
                  <a:pt x="3259113" y="3474666"/>
                </a:lnTo>
                <a:lnTo>
                  <a:pt x="3263224" y="3444203"/>
                </a:lnTo>
                <a:lnTo>
                  <a:pt x="3263227" y="3413497"/>
                </a:lnTo>
                <a:lnTo>
                  <a:pt x="3259118" y="3383032"/>
                </a:lnTo>
                <a:lnTo>
                  <a:pt x="3250901" y="3353288"/>
                </a:lnTo>
                <a:lnTo>
                  <a:pt x="3238575" y="3324749"/>
                </a:lnTo>
                <a:lnTo>
                  <a:pt x="3222137" y="3297895"/>
                </a:lnTo>
                <a:lnTo>
                  <a:pt x="3201589" y="3273208"/>
                </a:lnTo>
                <a:lnTo>
                  <a:pt x="45518" y="0"/>
                </a:lnTo>
                <a:close/>
              </a:path>
            </a:pathLst>
          </a:custGeom>
          <a:solidFill>
            <a:schemeClr val="bg1">
              <a:alpha val="42953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891C8F-5CA8-A353-0F4D-B15116B851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2471" y="3475116"/>
            <a:ext cx="4832350" cy="141605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subtitle and/or name of the speaker/presenter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1407005-6EA6-3066-509C-0C9819E3E0FB}"/>
              </a:ext>
            </a:extLst>
          </p:cNvPr>
          <p:cNvGrpSpPr/>
          <p:nvPr userDrawn="1"/>
        </p:nvGrpSpPr>
        <p:grpSpPr>
          <a:xfrm>
            <a:off x="614151" y="5129279"/>
            <a:ext cx="2269008" cy="1247058"/>
            <a:chOff x="9769700" y="4804102"/>
            <a:chExt cx="2269008" cy="1247058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C6F7BF57-CCDC-20C5-59EB-4937DFEBF5A1}"/>
                </a:ext>
              </a:extLst>
            </p:cNvPr>
            <p:cNvSpPr/>
            <p:nvPr userDrawn="1"/>
          </p:nvSpPr>
          <p:spPr>
            <a:xfrm>
              <a:off x="9856119" y="5723235"/>
              <a:ext cx="327925" cy="327925"/>
            </a:xfrm>
            <a:prstGeom prst="roundRect">
              <a:avLst>
                <a:gd name="adj" fmla="val 10858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10244EE1-67B5-A17C-1EFC-E421C3715507}"/>
                </a:ext>
              </a:extLst>
            </p:cNvPr>
            <p:cNvSpPr/>
            <p:nvPr userDrawn="1"/>
          </p:nvSpPr>
          <p:spPr>
            <a:xfrm>
              <a:off x="10226800" y="5723235"/>
              <a:ext cx="327925" cy="327925"/>
            </a:xfrm>
            <a:prstGeom prst="roundRect">
              <a:avLst>
                <a:gd name="adj" fmla="val 10858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DAD1B0C3-1109-4DEE-8699-479700D1E17F}"/>
                </a:ext>
              </a:extLst>
            </p:cNvPr>
            <p:cNvSpPr/>
            <p:nvPr userDrawn="1"/>
          </p:nvSpPr>
          <p:spPr>
            <a:xfrm>
              <a:off x="10597481" y="5723235"/>
              <a:ext cx="327925" cy="327925"/>
            </a:xfrm>
            <a:prstGeom prst="roundRect">
              <a:avLst>
                <a:gd name="adj" fmla="val 10858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F2735F2A-535D-563C-B0A5-A7A2246E91D3}"/>
                </a:ext>
              </a:extLst>
            </p:cNvPr>
            <p:cNvSpPr/>
            <p:nvPr userDrawn="1"/>
          </p:nvSpPr>
          <p:spPr>
            <a:xfrm>
              <a:off x="10968162" y="5723235"/>
              <a:ext cx="327925" cy="327925"/>
            </a:xfrm>
            <a:prstGeom prst="roundRect">
              <a:avLst>
                <a:gd name="adj" fmla="val 10858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6B759B12-09EC-44A5-BFBB-5A212289F3EB}"/>
                </a:ext>
              </a:extLst>
            </p:cNvPr>
            <p:cNvSpPr/>
            <p:nvPr userDrawn="1"/>
          </p:nvSpPr>
          <p:spPr>
            <a:xfrm>
              <a:off x="11338844" y="5723235"/>
              <a:ext cx="327925" cy="327925"/>
            </a:xfrm>
            <a:prstGeom prst="roundRect">
              <a:avLst>
                <a:gd name="adj" fmla="val 10858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21C45C7D-A030-1D9B-FD91-5037A8ACCD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856119" y="4804102"/>
              <a:ext cx="1807724" cy="479600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C4EE176-A208-1CAB-DB56-74ECAA3D5032}"/>
                </a:ext>
              </a:extLst>
            </p:cNvPr>
            <p:cNvSpPr txBox="1"/>
            <p:nvPr userDrawn="1"/>
          </p:nvSpPr>
          <p:spPr>
            <a:xfrm>
              <a:off x="9769700" y="5440675"/>
              <a:ext cx="226900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>
                  <a:solidFill>
                    <a:schemeClr val="bg1"/>
                  </a:solidFill>
                </a:rPr>
                <a:t>Follow us: </a:t>
              </a:r>
              <a:r>
                <a:rPr lang="en-GB" sz="1200" b="1" err="1">
                  <a:solidFill>
                    <a:schemeClr val="bg1"/>
                  </a:solidFill>
                </a:rPr>
                <a:t>www.ipsen.com</a:t>
              </a:r>
              <a:endParaRPr lang="en-GB" sz="1200" b="1">
                <a:solidFill>
                  <a:schemeClr val="bg1"/>
                </a:solidFill>
              </a:endParaRPr>
            </a:p>
          </p:txBody>
        </p:sp>
        <p:sp>
          <p:nvSpPr>
            <p:cNvPr id="17" name="Freeform 23">
              <a:extLst>
                <a:ext uri="{FF2B5EF4-FFF2-40B4-BE49-F238E27FC236}">
                  <a16:creationId xmlns:a16="http://schemas.microsoft.com/office/drawing/2014/main" id="{CDA7F0BF-0FEE-5DC1-660D-930D89D6B9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41517" y="5792604"/>
              <a:ext cx="185074" cy="189187"/>
            </a:xfrm>
            <a:custGeom>
              <a:avLst/>
              <a:gdLst>
                <a:gd name="T0" fmla="*/ 38 w 45"/>
                <a:gd name="T1" fmla="*/ 0 h 46"/>
                <a:gd name="T2" fmla="*/ 7 w 45"/>
                <a:gd name="T3" fmla="*/ 0 h 46"/>
                <a:gd name="T4" fmla="*/ 0 w 45"/>
                <a:gd name="T5" fmla="*/ 7 h 46"/>
                <a:gd name="T6" fmla="*/ 0 w 45"/>
                <a:gd name="T7" fmla="*/ 15 h 46"/>
                <a:gd name="T8" fmla="*/ 11 w 45"/>
                <a:gd name="T9" fmla="*/ 15 h 46"/>
                <a:gd name="T10" fmla="*/ 22 w 45"/>
                <a:gd name="T11" fmla="*/ 9 h 46"/>
                <a:gd name="T12" fmla="*/ 33 w 45"/>
                <a:gd name="T13" fmla="*/ 15 h 46"/>
                <a:gd name="T14" fmla="*/ 45 w 45"/>
                <a:gd name="T15" fmla="*/ 15 h 46"/>
                <a:gd name="T16" fmla="*/ 45 w 45"/>
                <a:gd name="T17" fmla="*/ 7 h 46"/>
                <a:gd name="T18" fmla="*/ 38 w 45"/>
                <a:gd name="T19" fmla="*/ 0 h 46"/>
                <a:gd name="T20" fmla="*/ 41 w 45"/>
                <a:gd name="T21" fmla="*/ 9 h 46"/>
                <a:gd name="T22" fmla="*/ 40 w 45"/>
                <a:gd name="T23" fmla="*/ 10 h 46"/>
                <a:gd name="T24" fmla="*/ 36 w 45"/>
                <a:gd name="T25" fmla="*/ 10 h 46"/>
                <a:gd name="T26" fmla="*/ 34 w 45"/>
                <a:gd name="T27" fmla="*/ 9 h 46"/>
                <a:gd name="T28" fmla="*/ 34 w 45"/>
                <a:gd name="T29" fmla="*/ 6 h 46"/>
                <a:gd name="T30" fmla="*/ 36 w 45"/>
                <a:gd name="T31" fmla="*/ 4 h 46"/>
                <a:gd name="T32" fmla="*/ 40 w 45"/>
                <a:gd name="T33" fmla="*/ 4 h 46"/>
                <a:gd name="T34" fmla="*/ 41 w 45"/>
                <a:gd name="T35" fmla="*/ 6 h 46"/>
                <a:gd name="T36" fmla="*/ 41 w 45"/>
                <a:gd name="T37" fmla="*/ 9 h 46"/>
                <a:gd name="T38" fmla="*/ 31 w 45"/>
                <a:gd name="T39" fmla="*/ 23 h 46"/>
                <a:gd name="T40" fmla="*/ 22 w 45"/>
                <a:gd name="T41" fmla="*/ 14 h 46"/>
                <a:gd name="T42" fmla="*/ 14 w 45"/>
                <a:gd name="T43" fmla="*/ 23 h 46"/>
                <a:gd name="T44" fmla="*/ 22 w 45"/>
                <a:gd name="T45" fmla="*/ 31 h 46"/>
                <a:gd name="T46" fmla="*/ 31 w 45"/>
                <a:gd name="T47" fmla="*/ 23 h 46"/>
                <a:gd name="T48" fmla="*/ 36 w 45"/>
                <a:gd name="T49" fmla="*/ 23 h 46"/>
                <a:gd name="T50" fmla="*/ 22 w 45"/>
                <a:gd name="T51" fmla="*/ 37 h 46"/>
                <a:gd name="T52" fmla="*/ 8 w 45"/>
                <a:gd name="T53" fmla="*/ 23 h 46"/>
                <a:gd name="T54" fmla="*/ 9 w 45"/>
                <a:gd name="T55" fmla="*/ 21 h 46"/>
                <a:gd name="T56" fmla="*/ 0 w 45"/>
                <a:gd name="T57" fmla="*/ 21 h 46"/>
                <a:gd name="T58" fmla="*/ 0 w 45"/>
                <a:gd name="T59" fmla="*/ 38 h 46"/>
                <a:gd name="T60" fmla="*/ 7 w 45"/>
                <a:gd name="T61" fmla="*/ 46 h 46"/>
                <a:gd name="T62" fmla="*/ 38 w 45"/>
                <a:gd name="T63" fmla="*/ 46 h 46"/>
                <a:gd name="T64" fmla="*/ 45 w 45"/>
                <a:gd name="T65" fmla="*/ 38 h 46"/>
                <a:gd name="T66" fmla="*/ 45 w 45"/>
                <a:gd name="T67" fmla="*/ 21 h 46"/>
                <a:gd name="T68" fmla="*/ 35 w 45"/>
                <a:gd name="T69" fmla="*/ 21 h 46"/>
                <a:gd name="T70" fmla="*/ 36 w 45"/>
                <a:gd name="T71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5" h="46">
                  <a:moveTo>
                    <a:pt x="3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4" y="11"/>
                    <a:pt x="18" y="9"/>
                    <a:pt x="22" y="9"/>
                  </a:cubicBezTo>
                  <a:cubicBezTo>
                    <a:pt x="27" y="9"/>
                    <a:pt x="31" y="11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4"/>
                    <a:pt x="42" y="0"/>
                    <a:pt x="38" y="0"/>
                  </a:cubicBezTo>
                  <a:close/>
                  <a:moveTo>
                    <a:pt x="41" y="9"/>
                  </a:moveTo>
                  <a:cubicBezTo>
                    <a:pt x="41" y="9"/>
                    <a:pt x="41" y="10"/>
                    <a:pt x="40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4" y="9"/>
                    <a:pt x="34" y="9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5"/>
                    <a:pt x="35" y="4"/>
                    <a:pt x="3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1" y="4"/>
                    <a:pt x="41" y="5"/>
                    <a:pt x="41" y="6"/>
                  </a:cubicBezTo>
                  <a:lnTo>
                    <a:pt x="41" y="9"/>
                  </a:lnTo>
                  <a:close/>
                  <a:moveTo>
                    <a:pt x="31" y="23"/>
                  </a:moveTo>
                  <a:cubicBezTo>
                    <a:pt x="31" y="18"/>
                    <a:pt x="27" y="14"/>
                    <a:pt x="22" y="14"/>
                  </a:cubicBezTo>
                  <a:cubicBezTo>
                    <a:pt x="18" y="14"/>
                    <a:pt x="14" y="18"/>
                    <a:pt x="14" y="23"/>
                  </a:cubicBezTo>
                  <a:cubicBezTo>
                    <a:pt x="14" y="27"/>
                    <a:pt x="18" y="31"/>
                    <a:pt x="22" y="31"/>
                  </a:cubicBezTo>
                  <a:cubicBezTo>
                    <a:pt x="27" y="31"/>
                    <a:pt x="31" y="27"/>
                    <a:pt x="31" y="23"/>
                  </a:cubicBezTo>
                  <a:close/>
                  <a:moveTo>
                    <a:pt x="36" y="23"/>
                  </a:moveTo>
                  <a:cubicBezTo>
                    <a:pt x="36" y="30"/>
                    <a:pt x="30" y="37"/>
                    <a:pt x="22" y="37"/>
                  </a:cubicBezTo>
                  <a:cubicBezTo>
                    <a:pt x="15" y="37"/>
                    <a:pt x="8" y="30"/>
                    <a:pt x="8" y="23"/>
                  </a:cubicBezTo>
                  <a:cubicBezTo>
                    <a:pt x="8" y="21"/>
                    <a:pt x="9" y="21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2"/>
                    <a:pt x="3" y="46"/>
                    <a:pt x="7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42" y="46"/>
                    <a:pt x="45" y="42"/>
                    <a:pt x="45" y="38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6" y="21"/>
                    <a:pt x="36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Lato" panose="020F0502020204030203" pitchFamily="34" charset="77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C77C54DB-BC66-6DE6-C9EC-B415C7027F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04733" y="5792604"/>
              <a:ext cx="102819" cy="193300"/>
            </a:xfrm>
            <a:custGeom>
              <a:avLst/>
              <a:gdLst>
                <a:gd name="T0" fmla="*/ 18 w 25"/>
                <a:gd name="T1" fmla="*/ 8 h 47"/>
                <a:gd name="T2" fmla="*/ 25 w 25"/>
                <a:gd name="T3" fmla="*/ 8 h 47"/>
                <a:gd name="T4" fmla="*/ 25 w 25"/>
                <a:gd name="T5" fmla="*/ 0 h 47"/>
                <a:gd name="T6" fmla="*/ 18 w 25"/>
                <a:gd name="T7" fmla="*/ 0 h 47"/>
                <a:gd name="T8" fmla="*/ 8 w 25"/>
                <a:gd name="T9" fmla="*/ 12 h 47"/>
                <a:gd name="T10" fmla="*/ 8 w 25"/>
                <a:gd name="T11" fmla="*/ 16 h 47"/>
                <a:gd name="T12" fmla="*/ 0 w 25"/>
                <a:gd name="T13" fmla="*/ 16 h 47"/>
                <a:gd name="T14" fmla="*/ 0 w 25"/>
                <a:gd name="T15" fmla="*/ 24 h 47"/>
                <a:gd name="T16" fmla="*/ 8 w 25"/>
                <a:gd name="T17" fmla="*/ 24 h 47"/>
                <a:gd name="T18" fmla="*/ 8 w 25"/>
                <a:gd name="T19" fmla="*/ 47 h 47"/>
                <a:gd name="T20" fmla="*/ 16 w 25"/>
                <a:gd name="T21" fmla="*/ 47 h 47"/>
                <a:gd name="T22" fmla="*/ 16 w 25"/>
                <a:gd name="T23" fmla="*/ 24 h 47"/>
                <a:gd name="T24" fmla="*/ 25 w 25"/>
                <a:gd name="T25" fmla="*/ 24 h 47"/>
                <a:gd name="T26" fmla="*/ 25 w 25"/>
                <a:gd name="T27" fmla="*/ 16 h 47"/>
                <a:gd name="T28" fmla="*/ 16 w 25"/>
                <a:gd name="T29" fmla="*/ 16 h 47"/>
                <a:gd name="T30" fmla="*/ 16 w 25"/>
                <a:gd name="T31" fmla="*/ 11 h 47"/>
                <a:gd name="T32" fmla="*/ 18 w 25"/>
                <a:gd name="T33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47">
                  <a:moveTo>
                    <a:pt x="18" y="8"/>
                  </a:moveTo>
                  <a:cubicBezTo>
                    <a:pt x="18" y="8"/>
                    <a:pt x="18" y="8"/>
                    <a:pt x="25" y="8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18" y="0"/>
                  </a:cubicBezTo>
                  <a:cubicBezTo>
                    <a:pt x="12" y="0"/>
                    <a:pt x="8" y="5"/>
                    <a:pt x="8" y="12"/>
                  </a:cubicBezTo>
                  <a:cubicBezTo>
                    <a:pt x="8" y="12"/>
                    <a:pt x="8" y="12"/>
                    <a:pt x="8" y="16"/>
                  </a:cubicBezTo>
                  <a:cubicBezTo>
                    <a:pt x="8" y="16"/>
                    <a:pt x="8" y="16"/>
                    <a:pt x="0" y="16"/>
                  </a:cubicBezTo>
                  <a:cubicBezTo>
                    <a:pt x="0" y="16"/>
                    <a:pt x="0" y="16"/>
                    <a:pt x="0" y="24"/>
                  </a:cubicBezTo>
                  <a:cubicBezTo>
                    <a:pt x="0" y="24"/>
                    <a:pt x="0" y="24"/>
                    <a:pt x="8" y="24"/>
                  </a:cubicBezTo>
                  <a:cubicBezTo>
                    <a:pt x="8" y="24"/>
                    <a:pt x="8" y="24"/>
                    <a:pt x="8" y="47"/>
                  </a:cubicBezTo>
                  <a:cubicBezTo>
                    <a:pt x="8" y="47"/>
                    <a:pt x="8" y="47"/>
                    <a:pt x="16" y="47"/>
                  </a:cubicBezTo>
                  <a:cubicBezTo>
                    <a:pt x="16" y="47"/>
                    <a:pt x="16" y="47"/>
                    <a:pt x="16" y="24"/>
                  </a:cubicBezTo>
                  <a:cubicBezTo>
                    <a:pt x="16" y="24"/>
                    <a:pt x="16" y="24"/>
                    <a:pt x="25" y="24"/>
                  </a:cubicBezTo>
                  <a:cubicBezTo>
                    <a:pt x="25" y="24"/>
                    <a:pt x="25" y="24"/>
                    <a:pt x="25" y="16"/>
                  </a:cubicBezTo>
                  <a:cubicBezTo>
                    <a:pt x="25" y="16"/>
                    <a:pt x="25" y="16"/>
                    <a:pt x="16" y="16"/>
                  </a:cubicBezTo>
                  <a:cubicBezTo>
                    <a:pt x="16" y="16"/>
                    <a:pt x="16" y="16"/>
                    <a:pt x="16" y="11"/>
                  </a:cubicBezTo>
                  <a:cubicBezTo>
                    <a:pt x="16" y="9"/>
                    <a:pt x="17" y="8"/>
                    <a:pt x="18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Lato" panose="020F0502020204030203" pitchFamily="34" charset="77"/>
              </a:endParaRP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94D77E69-7D5B-80E5-65E1-63BF717669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275978" y="5783803"/>
              <a:ext cx="228600" cy="228600"/>
            </a:xfrm>
            <a:prstGeom prst="rect">
              <a:avLst/>
            </a:prstGeom>
          </p:spPr>
        </p:pic>
        <p:sp>
          <p:nvSpPr>
            <p:cNvPr id="20" name="Freeform 33">
              <a:extLst>
                <a:ext uri="{FF2B5EF4-FFF2-40B4-BE49-F238E27FC236}">
                  <a16:creationId xmlns:a16="http://schemas.microsoft.com/office/drawing/2014/main" id="{9EA5848D-8B02-785A-9513-E25D60A339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37751" y="5801811"/>
              <a:ext cx="167024" cy="170822"/>
            </a:xfrm>
            <a:custGeom>
              <a:avLst/>
              <a:gdLst>
                <a:gd name="T0" fmla="*/ 4 w 44"/>
                <a:gd name="T1" fmla="*/ 0 h 45"/>
                <a:gd name="T2" fmla="*/ 0 w 44"/>
                <a:gd name="T3" fmla="*/ 4 h 45"/>
                <a:gd name="T4" fmla="*/ 4 w 44"/>
                <a:gd name="T5" fmla="*/ 9 h 45"/>
                <a:gd name="T6" fmla="*/ 10 w 44"/>
                <a:gd name="T7" fmla="*/ 4 h 45"/>
                <a:gd name="T8" fmla="*/ 4 w 44"/>
                <a:gd name="T9" fmla="*/ 0 h 45"/>
                <a:gd name="T10" fmla="*/ 0 w 44"/>
                <a:gd name="T11" fmla="*/ 45 h 45"/>
                <a:gd name="T12" fmla="*/ 10 w 44"/>
                <a:gd name="T13" fmla="*/ 45 h 45"/>
                <a:gd name="T14" fmla="*/ 10 w 44"/>
                <a:gd name="T15" fmla="*/ 13 h 45"/>
                <a:gd name="T16" fmla="*/ 0 w 44"/>
                <a:gd name="T17" fmla="*/ 13 h 45"/>
                <a:gd name="T18" fmla="*/ 0 w 44"/>
                <a:gd name="T19" fmla="*/ 45 h 45"/>
                <a:gd name="T20" fmla="*/ 34 w 44"/>
                <a:gd name="T21" fmla="*/ 14 h 45"/>
                <a:gd name="T22" fmla="*/ 24 w 44"/>
                <a:gd name="T23" fmla="*/ 18 h 45"/>
                <a:gd name="T24" fmla="*/ 24 w 44"/>
                <a:gd name="T25" fmla="*/ 15 h 45"/>
                <a:gd name="T26" fmla="*/ 16 w 44"/>
                <a:gd name="T27" fmla="*/ 15 h 45"/>
                <a:gd name="T28" fmla="*/ 16 w 44"/>
                <a:gd name="T29" fmla="*/ 45 h 45"/>
                <a:gd name="T30" fmla="*/ 25 w 44"/>
                <a:gd name="T31" fmla="*/ 45 h 45"/>
                <a:gd name="T32" fmla="*/ 25 w 44"/>
                <a:gd name="T33" fmla="*/ 27 h 45"/>
                <a:gd name="T34" fmla="*/ 25 w 44"/>
                <a:gd name="T35" fmla="*/ 25 h 45"/>
                <a:gd name="T36" fmla="*/ 30 w 44"/>
                <a:gd name="T37" fmla="*/ 22 h 45"/>
                <a:gd name="T38" fmla="*/ 35 w 44"/>
                <a:gd name="T39" fmla="*/ 28 h 45"/>
                <a:gd name="T40" fmla="*/ 35 w 44"/>
                <a:gd name="T41" fmla="*/ 45 h 45"/>
                <a:gd name="T42" fmla="*/ 44 w 44"/>
                <a:gd name="T43" fmla="*/ 45 h 45"/>
                <a:gd name="T44" fmla="*/ 44 w 44"/>
                <a:gd name="T45" fmla="*/ 27 h 45"/>
                <a:gd name="T46" fmla="*/ 34 w 44"/>
                <a:gd name="T47" fmla="*/ 1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45">
                  <a:moveTo>
                    <a:pt x="4" y="0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0" y="7"/>
                    <a:pt x="1" y="9"/>
                    <a:pt x="4" y="9"/>
                  </a:cubicBezTo>
                  <a:cubicBezTo>
                    <a:pt x="8" y="9"/>
                    <a:pt x="10" y="7"/>
                    <a:pt x="10" y="4"/>
                  </a:cubicBezTo>
                  <a:cubicBezTo>
                    <a:pt x="10" y="2"/>
                    <a:pt x="8" y="0"/>
                    <a:pt x="4" y="0"/>
                  </a:cubicBezTo>
                  <a:close/>
                  <a:moveTo>
                    <a:pt x="0" y="45"/>
                  </a:move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13"/>
                  </a:cubicBezTo>
                  <a:cubicBezTo>
                    <a:pt x="10" y="13"/>
                    <a:pt x="10" y="13"/>
                    <a:pt x="0" y="13"/>
                  </a:cubicBezTo>
                  <a:cubicBezTo>
                    <a:pt x="0" y="13"/>
                    <a:pt x="0" y="13"/>
                    <a:pt x="0" y="45"/>
                  </a:cubicBezTo>
                  <a:close/>
                  <a:moveTo>
                    <a:pt x="34" y="14"/>
                  </a:moveTo>
                  <a:cubicBezTo>
                    <a:pt x="29" y="14"/>
                    <a:pt x="25" y="17"/>
                    <a:pt x="24" y="18"/>
                  </a:cubicBezTo>
                  <a:cubicBezTo>
                    <a:pt x="24" y="18"/>
                    <a:pt x="24" y="18"/>
                    <a:pt x="24" y="15"/>
                  </a:cubicBezTo>
                  <a:cubicBezTo>
                    <a:pt x="24" y="15"/>
                    <a:pt x="24" y="15"/>
                    <a:pt x="16" y="1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6" y="45"/>
                    <a:pt x="25" y="45"/>
                  </a:cubicBezTo>
                  <a:cubicBezTo>
                    <a:pt x="25" y="45"/>
                    <a:pt x="25" y="45"/>
                    <a:pt x="25" y="27"/>
                  </a:cubicBezTo>
                  <a:cubicBezTo>
                    <a:pt x="25" y="26"/>
                    <a:pt x="25" y="25"/>
                    <a:pt x="25" y="25"/>
                  </a:cubicBezTo>
                  <a:cubicBezTo>
                    <a:pt x="26" y="24"/>
                    <a:pt x="28" y="22"/>
                    <a:pt x="30" y="22"/>
                  </a:cubicBezTo>
                  <a:cubicBezTo>
                    <a:pt x="34" y="22"/>
                    <a:pt x="35" y="25"/>
                    <a:pt x="35" y="28"/>
                  </a:cubicBezTo>
                  <a:cubicBezTo>
                    <a:pt x="35" y="28"/>
                    <a:pt x="35" y="28"/>
                    <a:pt x="35" y="45"/>
                  </a:cubicBezTo>
                  <a:cubicBezTo>
                    <a:pt x="35" y="45"/>
                    <a:pt x="35" y="45"/>
                    <a:pt x="44" y="45"/>
                  </a:cubicBezTo>
                  <a:cubicBezTo>
                    <a:pt x="44" y="45"/>
                    <a:pt x="44" y="45"/>
                    <a:pt x="44" y="27"/>
                  </a:cubicBezTo>
                  <a:cubicBezTo>
                    <a:pt x="44" y="18"/>
                    <a:pt x="40" y="14"/>
                    <a:pt x="34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Lato" panose="020F0502020204030203" pitchFamily="34" charset="77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CA1177D6-01C2-7A0D-1030-710EA9FB1C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389437" y="5809248"/>
              <a:ext cx="222711" cy="1558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45495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Closing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BD28C1-DF90-F659-7E81-36A5531FDF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89269" y="6516094"/>
            <a:ext cx="320129" cy="236433"/>
          </a:xfrm>
          <a:prstGeom prst="rect">
            <a:avLst/>
          </a:prstGeom>
        </p:spPr>
        <p:txBody>
          <a:bodyPr/>
          <a:lstStyle/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8D3807D-005D-1EA7-BDFB-14AAD01BA4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2" y="2639738"/>
            <a:ext cx="6761824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A3BF6F70-9846-908B-B946-BE2B152D4EED}"/>
              </a:ext>
            </a:extLst>
          </p:cNvPr>
          <p:cNvSpPr/>
          <p:nvPr userDrawn="1"/>
        </p:nvSpPr>
        <p:spPr>
          <a:xfrm>
            <a:off x="7504295" y="1"/>
            <a:ext cx="4687705" cy="6858000"/>
          </a:xfrm>
          <a:custGeom>
            <a:avLst/>
            <a:gdLst>
              <a:gd name="connsiteX0" fmla="*/ 45518 w 4687705"/>
              <a:gd name="connsiteY0" fmla="*/ 0 h 6904879"/>
              <a:gd name="connsiteX1" fmla="*/ 4687705 w 4687705"/>
              <a:gd name="connsiteY1" fmla="*/ 0 h 6904879"/>
              <a:gd name="connsiteX2" fmla="*/ 4687705 w 4687705"/>
              <a:gd name="connsiteY2" fmla="*/ 6904879 h 6904879"/>
              <a:gd name="connsiteX3" fmla="*/ 0 w 4687705"/>
              <a:gd name="connsiteY3" fmla="*/ 6904879 h 6904879"/>
              <a:gd name="connsiteX4" fmla="*/ 3201589 w 4687705"/>
              <a:gd name="connsiteY4" fmla="*/ 3584465 h 6904879"/>
              <a:gd name="connsiteX5" fmla="*/ 3222132 w 4687705"/>
              <a:gd name="connsiteY5" fmla="*/ 3559787 h 6904879"/>
              <a:gd name="connsiteX6" fmla="*/ 3238567 w 4687705"/>
              <a:gd name="connsiteY6" fmla="*/ 3532940 h 6904879"/>
              <a:gd name="connsiteX7" fmla="*/ 3250894 w 4687705"/>
              <a:gd name="connsiteY7" fmla="*/ 3504406 h 6904879"/>
              <a:gd name="connsiteX8" fmla="*/ 3259113 w 4687705"/>
              <a:gd name="connsiteY8" fmla="*/ 3474666 h 6904879"/>
              <a:gd name="connsiteX9" fmla="*/ 3263224 w 4687705"/>
              <a:gd name="connsiteY9" fmla="*/ 3444203 h 6904879"/>
              <a:gd name="connsiteX10" fmla="*/ 3263227 w 4687705"/>
              <a:gd name="connsiteY10" fmla="*/ 3413497 h 6904879"/>
              <a:gd name="connsiteX11" fmla="*/ 3259118 w 4687705"/>
              <a:gd name="connsiteY11" fmla="*/ 3383032 h 6904879"/>
              <a:gd name="connsiteX12" fmla="*/ 3250901 w 4687705"/>
              <a:gd name="connsiteY12" fmla="*/ 3353288 h 6904879"/>
              <a:gd name="connsiteX13" fmla="*/ 3238575 w 4687705"/>
              <a:gd name="connsiteY13" fmla="*/ 3324749 h 6904879"/>
              <a:gd name="connsiteX14" fmla="*/ 3222137 w 4687705"/>
              <a:gd name="connsiteY14" fmla="*/ 3297895 h 6904879"/>
              <a:gd name="connsiteX15" fmla="*/ 3201589 w 4687705"/>
              <a:gd name="connsiteY15" fmla="*/ 3273208 h 6904879"/>
              <a:gd name="connsiteX16" fmla="*/ 45518 w 4687705"/>
              <a:gd name="connsiteY16" fmla="*/ 0 h 690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687705" h="6904879">
                <a:moveTo>
                  <a:pt x="45518" y="0"/>
                </a:moveTo>
                <a:lnTo>
                  <a:pt x="4687705" y="0"/>
                </a:lnTo>
                <a:lnTo>
                  <a:pt x="4687705" y="6904879"/>
                </a:lnTo>
                <a:lnTo>
                  <a:pt x="0" y="6904879"/>
                </a:lnTo>
                <a:lnTo>
                  <a:pt x="3201589" y="3584465"/>
                </a:lnTo>
                <a:lnTo>
                  <a:pt x="3222132" y="3559787"/>
                </a:lnTo>
                <a:lnTo>
                  <a:pt x="3238567" y="3532940"/>
                </a:lnTo>
                <a:lnTo>
                  <a:pt x="3250894" y="3504406"/>
                </a:lnTo>
                <a:lnTo>
                  <a:pt x="3259113" y="3474666"/>
                </a:lnTo>
                <a:lnTo>
                  <a:pt x="3263224" y="3444203"/>
                </a:lnTo>
                <a:lnTo>
                  <a:pt x="3263227" y="3413497"/>
                </a:lnTo>
                <a:lnTo>
                  <a:pt x="3259118" y="3383032"/>
                </a:lnTo>
                <a:lnTo>
                  <a:pt x="3250901" y="3353288"/>
                </a:lnTo>
                <a:lnTo>
                  <a:pt x="3238575" y="3324749"/>
                </a:lnTo>
                <a:lnTo>
                  <a:pt x="3222137" y="3297895"/>
                </a:lnTo>
                <a:lnTo>
                  <a:pt x="3201589" y="3273208"/>
                </a:lnTo>
                <a:lnTo>
                  <a:pt x="45518" y="0"/>
                </a:lnTo>
                <a:close/>
              </a:path>
            </a:pathLst>
          </a:custGeom>
          <a:solidFill>
            <a:schemeClr val="bg1">
              <a:alpha val="42953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b="0" i="0">
              <a:latin typeface="Lato" panose="020F0502020204030203" pitchFamily="34" charset="77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891C8F-5CA8-A353-0F4D-B15116B851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2471" y="3475116"/>
            <a:ext cx="4832350" cy="141605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subtitle and/or name of the speaker/presenter goes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1C45C7D-A030-1D9B-FD91-5037A8ACCD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570" y="6036494"/>
            <a:ext cx="1807724" cy="47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02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26;p3">
            <a:extLst>
              <a:ext uri="{FF2B5EF4-FFF2-40B4-BE49-F238E27FC236}">
                <a16:creationId xmlns:a16="http://schemas.microsoft.com/office/drawing/2014/main" id="{54669915-A0C7-F146-88C4-734A926EBB9D}"/>
              </a:ext>
            </a:extLst>
          </p:cNvPr>
          <p:cNvSpPr txBox="1">
            <a:spLocks noGrp="1"/>
          </p:cNvSpPr>
          <p:nvPr>
            <p:ph type="body" idx="18" hasCustomPrompt="1"/>
          </p:nvPr>
        </p:nvSpPr>
        <p:spPr>
          <a:xfrm>
            <a:off x="1874982" y="6247092"/>
            <a:ext cx="8685066" cy="435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fr-FR"/>
              <a:t>Notes or </a:t>
            </a:r>
            <a:r>
              <a:rPr lang="fr-FR" err="1"/>
              <a:t>references</a:t>
            </a:r>
            <a:endParaRPr lang="fr-FR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7B1CC11-F970-5A4A-9B00-55764B023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28645"/>
            <a:ext cx="10872787" cy="58461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C1E8E58-992B-D145-A92B-2640AFF6DB8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87374" y="845920"/>
            <a:ext cx="10872788" cy="47241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lang="en-GB" sz="2400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F0950F3-B3EB-B446-8F44-8909A19FC3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87375" y="1698625"/>
            <a:ext cx="10872788" cy="431345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19B24133-9210-272E-8B80-D99FDBA4EB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79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pos="719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6;p3">
            <a:extLst>
              <a:ext uri="{FF2B5EF4-FFF2-40B4-BE49-F238E27FC236}">
                <a16:creationId xmlns:a16="http://schemas.microsoft.com/office/drawing/2014/main" id="{F93A78E9-3E13-FF45-934C-E385732F0832}"/>
              </a:ext>
            </a:extLst>
          </p:cNvPr>
          <p:cNvSpPr txBox="1">
            <a:spLocks noGrp="1"/>
          </p:cNvSpPr>
          <p:nvPr>
            <p:ph type="body" idx="18" hasCustomPrompt="1"/>
          </p:nvPr>
        </p:nvSpPr>
        <p:spPr>
          <a:xfrm>
            <a:off x="1874982" y="6247092"/>
            <a:ext cx="8685066" cy="435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fr-FR"/>
              <a:t>Notes or </a:t>
            </a:r>
            <a:r>
              <a:rPr lang="fr-FR" err="1"/>
              <a:t>references</a:t>
            </a:r>
            <a:endParaRPr lang="fr-FR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5F42740-875F-2F4F-A359-EFDB64D69C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28645"/>
            <a:ext cx="10872787" cy="584616"/>
          </a:xfrm>
          <a:prstGeom prst="rect">
            <a:avLst/>
          </a:prstGeom>
        </p:spPr>
        <p:txBody>
          <a:bodyPr lIns="0" tIns="0" rIns="0" bIns="0" anchor="b"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AB833C6-788A-A942-B7EE-A9B5DCA021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87374" y="845920"/>
            <a:ext cx="10872788" cy="472416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lang="en-GB" sz="2400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1C27E552-E212-0447-9CCA-8B0FE98C8D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1707501"/>
            <a:ext cx="10872788" cy="430457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26A78A97-A680-9644-4179-4B5B972BFA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987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32">
          <p15:clr>
            <a:srgbClr val="FBAE40"/>
          </p15:clr>
        </p15:guide>
        <p15:guide id="2" orient="horz" pos="3793">
          <p15:clr>
            <a:srgbClr val="FBAE40"/>
          </p15:clr>
        </p15:guide>
        <p15:guide id="3" pos="370">
          <p15:clr>
            <a:srgbClr val="FBAE40"/>
          </p15:clr>
        </p15:guide>
        <p15:guide id="4" pos="7219">
          <p15:clr>
            <a:srgbClr val="FBAE40"/>
          </p15:clr>
        </p15:guide>
        <p15:guide id="5" orient="horz" pos="107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">
  <p:cSld name="DEFAULT">
    <p:bg>
      <p:bgPr>
        <a:solidFill>
          <a:schemeClr val="lt1"/>
        </a:solidFill>
        <a:effectLst/>
      </p:bgPr>
    </p:bg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0574942B-A384-96F0-F368-725940309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8649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13629" y="188640"/>
            <a:ext cx="10046419" cy="78705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4000" baseline="0">
                <a:solidFill>
                  <a:srgbClr val="003C68"/>
                </a:solidFill>
              </a:defRPr>
            </a:lvl1pPr>
          </a:lstStyle>
          <a:p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1 </a:t>
            </a:r>
            <a:r>
              <a:rPr lang="fr-FR" sz="4000" err="1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column</a:t>
            </a:r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</a:t>
            </a:r>
            <a:r>
              <a:rPr lang="fr-FR" sz="4000" err="1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layout</a:t>
            </a:r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</a:t>
            </a:r>
            <a:r>
              <a:rPr lang="fr-FR" sz="4000" err="1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with</a:t>
            </a:r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</a:t>
            </a:r>
            <a:r>
              <a:rPr lang="fr-FR" sz="4000" err="1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title</a:t>
            </a:r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40pt</a:t>
            </a:r>
            <a:endParaRPr lang="en-US" sz="400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13630" y="975692"/>
            <a:ext cx="10046420" cy="45410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baseline="0">
                <a:solidFill>
                  <a:srgbClr val="2898D4"/>
                </a:solidFill>
              </a:defRPr>
            </a:lvl1pPr>
            <a:lvl2pPr marL="457200" indent="0">
              <a:buNone/>
              <a:defRPr>
                <a:solidFill>
                  <a:srgbClr val="2898D4"/>
                </a:solidFill>
              </a:defRPr>
            </a:lvl2pPr>
            <a:lvl3pPr marL="914400" indent="0">
              <a:buNone/>
              <a:defRPr>
                <a:solidFill>
                  <a:srgbClr val="2898D4"/>
                </a:solidFill>
              </a:defRPr>
            </a:lvl3pPr>
            <a:lvl4pPr marL="1371600" indent="0">
              <a:buNone/>
              <a:defRPr>
                <a:solidFill>
                  <a:srgbClr val="2898D4"/>
                </a:solidFill>
              </a:defRPr>
            </a:lvl4pPr>
            <a:lvl5pPr marL="1828800" indent="0">
              <a:buNone/>
              <a:defRPr>
                <a:solidFill>
                  <a:srgbClr val="2898D4"/>
                </a:solidFill>
              </a:defRPr>
            </a:lvl5pPr>
          </a:lstStyle>
          <a:p>
            <a:pPr algn="l"/>
            <a:r>
              <a:rPr lang="fr-FR" sz="1600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Slide </a:t>
            </a:r>
            <a:r>
              <a:rPr lang="fr-FR" sz="1600" err="1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sub</a:t>
            </a:r>
            <a:r>
              <a:rPr lang="fr-FR" sz="1600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header 16pt</a:t>
            </a:r>
          </a:p>
        </p:txBody>
      </p:sp>
      <p:sp>
        <p:nvSpPr>
          <p:cNvPr id="6" name="Google Shape;26;p3"/>
          <p:cNvSpPr txBox="1">
            <a:spLocks noGrp="1"/>
          </p:cNvSpPr>
          <p:nvPr>
            <p:ph type="body" idx="1" hasCustomPrompt="1"/>
          </p:nvPr>
        </p:nvSpPr>
        <p:spPr>
          <a:xfrm>
            <a:off x="1631950" y="2136701"/>
            <a:ext cx="8928099" cy="3668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600" b="0" i="0" u="none" strike="noStrike" cap="none" baseline="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All text content goes here at 16pt</a:t>
            </a:r>
          </a:p>
          <a:p>
            <a:endParaRPr/>
          </a:p>
        </p:txBody>
      </p:sp>
      <p:sp>
        <p:nvSpPr>
          <p:cNvPr id="7" name="Google Shape;26;p3"/>
          <p:cNvSpPr txBox="1">
            <a:spLocks noGrp="1"/>
          </p:cNvSpPr>
          <p:nvPr>
            <p:ph type="body" idx="16" hasCustomPrompt="1"/>
          </p:nvPr>
        </p:nvSpPr>
        <p:spPr>
          <a:xfrm>
            <a:off x="1631950" y="1700808"/>
            <a:ext cx="8928100" cy="435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 baseline="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Title text 24pt</a:t>
            </a:r>
            <a:endParaRPr/>
          </a:p>
        </p:txBody>
      </p:sp>
      <p:sp>
        <p:nvSpPr>
          <p:cNvPr id="4" name="Slide Number Placeholder 23">
            <a:extLst>
              <a:ext uri="{FF2B5EF4-FFF2-40B4-BE49-F238E27FC236}">
                <a16:creationId xmlns:a16="http://schemas.microsoft.com/office/drawing/2014/main" id="{AD7A30E6-85F7-74D8-E2A6-CE7CD34D52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283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2">
          <p15:clr>
            <a:srgbClr val="FBAE40"/>
          </p15:clr>
        </p15:guide>
        <p15:guide id="4" pos="102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29104-F835-CE59-0B7F-3FE7B76D87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C7A29F-62CB-E601-51FB-FBF076AA99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57F5C1-FC28-AE85-FDEF-4A7C9330A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28406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5F42740-875F-2F4F-A359-EFDB64D69C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28645"/>
            <a:ext cx="10872787" cy="584616"/>
          </a:xfrm>
          <a:prstGeom prst="rect">
            <a:avLst/>
          </a:prstGeom>
        </p:spPr>
        <p:txBody>
          <a:bodyPr lIns="0" tIns="0" rIns="0" bIns="0" anchor="b"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AB833C6-788A-A942-B7EE-A9B5DCA021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87374" y="845920"/>
            <a:ext cx="10872788" cy="472416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lang="en-GB" sz="2400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1C27E552-E212-0447-9CCA-8B0FE98C8D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1707501"/>
            <a:ext cx="10872788" cy="430457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149B3FCB-E0C3-3048-2DAD-AABC88F173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186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32">
          <p15:clr>
            <a:srgbClr val="FBAE40"/>
          </p15:clr>
        </p15:guide>
        <p15:guide id="2" orient="horz" pos="3793">
          <p15:clr>
            <a:srgbClr val="FBAE40"/>
          </p15:clr>
        </p15:guide>
        <p15:guide id="3" pos="370">
          <p15:clr>
            <a:srgbClr val="FBAE40"/>
          </p15:clr>
        </p15:guide>
        <p15:guide id="4" pos="7219">
          <p15:clr>
            <a:srgbClr val="FBAE40"/>
          </p15:clr>
        </p15:guide>
        <p15:guide id="5" orient="horz" pos="107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itle with highligh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6;p3">
            <a:extLst>
              <a:ext uri="{FF2B5EF4-FFF2-40B4-BE49-F238E27FC236}">
                <a16:creationId xmlns:a16="http://schemas.microsoft.com/office/drawing/2014/main" id="{52E0C843-6AE3-C74B-BDA0-07F4CC23903B}"/>
              </a:ext>
            </a:extLst>
          </p:cNvPr>
          <p:cNvSpPr txBox="1">
            <a:spLocks noGrp="1"/>
          </p:cNvSpPr>
          <p:nvPr>
            <p:ph type="body" idx="18" hasCustomPrompt="1"/>
          </p:nvPr>
        </p:nvSpPr>
        <p:spPr>
          <a:xfrm>
            <a:off x="1874982" y="6247092"/>
            <a:ext cx="8685066" cy="435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fr-FR"/>
              <a:t>Notes or </a:t>
            </a:r>
            <a:r>
              <a:rPr lang="fr-FR" err="1"/>
              <a:t>references</a:t>
            </a:r>
            <a:endParaRPr lang="fr-FR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FBFC419-1955-3B4F-B90F-DF0994CF74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28645"/>
            <a:ext cx="10872787" cy="584616"/>
          </a:xfrm>
          <a:prstGeom prst="rect">
            <a:avLst/>
          </a:prstGeom>
        </p:spPr>
        <p:txBody>
          <a:bodyPr lIns="0" tIns="0" rIns="0" bIns="0" anchor="b"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EB49C4F-F72C-104D-B6C6-6FFC6E1DEC9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87374" y="845920"/>
            <a:ext cx="10872788" cy="472416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2400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8" name="Google Shape;26;p3">
            <a:extLst>
              <a:ext uri="{FF2B5EF4-FFF2-40B4-BE49-F238E27FC236}">
                <a16:creationId xmlns:a16="http://schemas.microsoft.com/office/drawing/2014/main" id="{70B84222-19DC-4F40-8478-32BD6E9FA70D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3852755" y="2142937"/>
            <a:ext cx="4463342" cy="2516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23" name="Espace réservé pour une image  21">
            <a:extLst>
              <a:ext uri="{FF2B5EF4-FFF2-40B4-BE49-F238E27FC236}">
                <a16:creationId xmlns:a16="http://schemas.microsoft.com/office/drawing/2014/main" id="{C02A6749-2658-884B-8D94-ECEE8D92FDB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0198" y="2034937"/>
            <a:ext cx="360000" cy="36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Quote mark</a:t>
            </a:r>
          </a:p>
          <a:p>
            <a:endParaRPr lang="en-GB"/>
          </a:p>
        </p:txBody>
      </p:sp>
      <p:sp>
        <p:nvSpPr>
          <p:cNvPr id="26" name="Espace réservé pour une image  21">
            <a:extLst>
              <a:ext uri="{FF2B5EF4-FFF2-40B4-BE49-F238E27FC236}">
                <a16:creationId xmlns:a16="http://schemas.microsoft.com/office/drawing/2014/main" id="{AD7C891E-AA7F-7E43-BE2B-1E77929A20C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0538653" y="4409329"/>
            <a:ext cx="360000" cy="36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Quote mark</a:t>
            </a:r>
          </a:p>
          <a:p>
            <a:endParaRPr lang="en-GB"/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340F17A4-F4B0-BA3B-AD5D-80EDD2C4DB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7386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5A6E56AA-41A3-59D8-6436-F04694BDBC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6308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411479B-C9AC-8B4E-A8DD-1969267D83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955" y="218168"/>
            <a:ext cx="11088000" cy="864000"/>
          </a:xfrm>
        </p:spPr>
        <p:txBody>
          <a:bodyPr/>
          <a:lstStyle/>
          <a:p>
            <a:r>
              <a:rPr lang="fr-FR"/>
              <a:t>Page </a:t>
            </a:r>
            <a:r>
              <a:rPr lang="fr-FR" err="1"/>
              <a:t>three</a:t>
            </a:r>
            <a:r>
              <a:rPr lang="fr-FR"/>
              <a:t> </a:t>
            </a:r>
            <a:r>
              <a:rPr lang="fr-FR" err="1"/>
              <a:t>columns</a:t>
            </a:r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164F209-FCB9-2A40-8ED6-6DC169BE33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44527C-5CD5-194A-A697-64A931C96FF8}" type="slidenum">
              <a:rPr lang="fr-FR" smtClean="0"/>
              <a:t>‹#›</a:t>
            </a:fld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60E1E1C-591A-8949-9011-780514F780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955" y="1127351"/>
            <a:ext cx="11087100" cy="432000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r>
              <a:rPr lang="fr-FR" err="1"/>
              <a:t>Subtitle</a:t>
            </a:r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22824C9-9101-EF44-AD9D-469BF214C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6171" y="1762705"/>
            <a:ext cx="3420000" cy="580805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0" b="0" i="0">
                <a:latin typeface="PF Highway Sans Pro Medium" panose="02000500000000020004" pitchFamily="2" charset="0"/>
              </a:defRPr>
            </a:lvl1pPr>
          </a:lstStyle>
          <a:p>
            <a:r>
              <a:rPr lang="fr-FR" err="1"/>
              <a:t>Subtitle</a:t>
            </a:r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AEDA519-EAEF-1441-B83A-ABC711F834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6171" y="2470055"/>
            <a:ext cx="3420000" cy="3600000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 sz="1800"/>
            </a:lvl1pPr>
          </a:lstStyle>
          <a:p>
            <a:r>
              <a:rPr lang="fr-FR"/>
              <a:t>Modifier les styles du texte du masque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F2A712CC-7C00-7E40-AB79-3190A94DFD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10977" y="1759830"/>
            <a:ext cx="3420000" cy="580805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0" b="0" i="0">
                <a:latin typeface="PF Highway Sans Pro Medium" panose="02000500000000020004" pitchFamily="2" charset="0"/>
              </a:defRPr>
            </a:lvl1pPr>
          </a:lstStyle>
          <a:p>
            <a:r>
              <a:rPr lang="fr-FR" err="1"/>
              <a:t>Subtitle</a:t>
            </a:r>
            <a:endParaRPr lang="fr-FR"/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DCB6618B-6F1A-854A-9010-5DEAE6372A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0977" y="2467180"/>
            <a:ext cx="3420000" cy="3600000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 sz="1800"/>
            </a:lvl1pPr>
          </a:lstStyle>
          <a:p>
            <a:r>
              <a:rPr lang="fr-FR"/>
              <a:t>Modifier les styles du texte du masqu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3B7FB353-5EB1-B54D-A58E-B2CD900FA9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0207" y="1759830"/>
            <a:ext cx="3420000" cy="580805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0" b="0" i="0">
                <a:latin typeface="PF Highway Sans Pro Medium" panose="02000500000000020004" pitchFamily="2" charset="0"/>
              </a:defRPr>
            </a:lvl1pPr>
          </a:lstStyle>
          <a:p>
            <a:r>
              <a:rPr lang="fr-FR" err="1"/>
              <a:t>Subtitle</a:t>
            </a:r>
            <a:endParaRPr lang="fr-FR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13ABD5A-9DDD-914C-B741-C345C74B73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00207" y="2467180"/>
            <a:ext cx="3420000" cy="3600000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 sz="1800"/>
            </a:lvl1pPr>
          </a:lstStyle>
          <a:p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29740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EB28F397-0892-6F04-B2F1-B4B92E59B5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769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5" pos="6652">
          <p15:clr>
            <a:srgbClr val="FBAE40"/>
          </p15:clr>
        </p15:guide>
        <p15:guide id="6" pos="102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917856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5FD04B-2F37-49BE-8333-364464DF5902}" type="slidenum">
              <a:rPr lang="fr-FR" smtClean="0"/>
              <a:t>‹#›</a:t>
            </a:fld>
            <a:endParaRPr lang="fr-FR"/>
          </a:p>
        </p:txBody>
      </p:sp>
      <p:sp>
        <p:nvSpPr>
          <p:cNvPr id="11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53069" y="1412775"/>
            <a:ext cx="10520067" cy="4512500"/>
          </a:xfrm>
        </p:spPr>
        <p:txBody>
          <a:bodyPr/>
          <a:lstStyle>
            <a:lvl1pPr marL="0" indent="0">
              <a:buNone/>
              <a:defRPr sz="2667" baseline="0"/>
            </a:lvl1pPr>
            <a:lvl2pPr marL="1066773" indent="-457189">
              <a:buFont typeface="Wingdings" panose="05000000000000000000" pitchFamily="2" charset="2"/>
              <a:buChar char="§"/>
              <a:defRPr sz="2400"/>
            </a:lvl2pPr>
            <a:lvl3pPr marL="1600160" indent="-380990">
              <a:buFont typeface="Arial" panose="020B0604020202020204" pitchFamily="34" charset="0"/>
              <a:buChar char="•"/>
              <a:defRPr sz="2133"/>
            </a:lvl3pPr>
            <a:lvl4pPr marL="2285943" indent="-457189">
              <a:buFont typeface="Courier New" panose="02070309020205020404" pitchFamily="49" charset="0"/>
              <a:buChar char="o"/>
              <a:defRPr sz="1867"/>
            </a:lvl4pPr>
            <a:lvl5pPr marL="2819330" indent="-380990">
              <a:buFont typeface="Raleway" panose="020B0003030101060003" pitchFamily="34" charset="0"/>
              <a:buChar char="−"/>
              <a:defRPr sz="1867"/>
            </a:lvl5pPr>
          </a:lstStyle>
          <a:p>
            <a:pPr lvl="0"/>
            <a:r>
              <a:rPr lang="fr-FR"/>
              <a:t>Tape </a:t>
            </a:r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1103446" y="274637"/>
            <a:ext cx="10478953" cy="562075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fr-FR" err="1"/>
              <a:t>Title</a:t>
            </a:r>
            <a:r>
              <a:rPr lang="fr-FR"/>
              <a:t> of the page</a:t>
            </a:r>
            <a:br>
              <a:rPr lang="fr-FR"/>
            </a:br>
            <a:r>
              <a:rPr lang="fr-FR" sz="1600"/>
              <a:t>Possible </a:t>
            </a:r>
            <a:r>
              <a:rPr lang="fr-FR" sz="1600" err="1"/>
              <a:t>sub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46524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column with info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6;p3"/>
          <p:cNvSpPr txBox="1">
            <a:spLocks noGrp="1"/>
          </p:cNvSpPr>
          <p:nvPr>
            <p:ph type="body" idx="1" hasCustomPrompt="1"/>
          </p:nvPr>
        </p:nvSpPr>
        <p:spPr>
          <a:xfrm>
            <a:off x="1631951" y="2136701"/>
            <a:ext cx="2807866" cy="2156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898D4"/>
              </a:buClr>
              <a:buSzPct val="90000"/>
              <a:buFont typeface="Arial" charset="0"/>
              <a:buChar char="•"/>
              <a:tabLst/>
              <a:defRPr sz="1600" b="0" i="0" u="none" strike="noStrike" cap="none" baseline="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/>
          </a:p>
        </p:txBody>
      </p:sp>
      <p:sp>
        <p:nvSpPr>
          <p:cNvPr id="5" name="Google Shape;26;p3"/>
          <p:cNvSpPr txBox="1">
            <a:spLocks noGrp="1"/>
          </p:cNvSpPr>
          <p:nvPr>
            <p:ph type="body" idx="16" hasCustomPrompt="1"/>
          </p:nvPr>
        </p:nvSpPr>
        <p:spPr>
          <a:xfrm>
            <a:off x="1631951" y="1700808"/>
            <a:ext cx="2807866" cy="435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 baseline="0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Title text 24pt</a:t>
            </a:r>
            <a:endParaRPr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513630" y="188640"/>
            <a:ext cx="10046420" cy="78705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4000" baseline="0">
                <a:solidFill>
                  <a:srgbClr val="003C68"/>
                </a:solidFill>
              </a:defRPr>
            </a:lvl1pPr>
          </a:lstStyle>
          <a:p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3 </a:t>
            </a:r>
            <a:r>
              <a:rPr lang="fr-FR" sz="4000" err="1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columns</a:t>
            </a:r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</a:t>
            </a:r>
            <a:r>
              <a:rPr lang="fr-FR" sz="4000" err="1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with</a:t>
            </a:r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</a:t>
            </a:r>
            <a:r>
              <a:rPr lang="fr-FR" sz="4000" err="1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infographics</a:t>
            </a:r>
            <a:r>
              <a:rPr lang="fr-FR" sz="40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40pt</a:t>
            </a:r>
            <a:endParaRPr lang="en-US" sz="400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13630" y="975692"/>
            <a:ext cx="10046420" cy="45410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baseline="0">
                <a:solidFill>
                  <a:srgbClr val="2898D4"/>
                </a:solidFill>
              </a:defRPr>
            </a:lvl1pPr>
            <a:lvl2pPr marL="457200" indent="0">
              <a:buNone/>
              <a:defRPr>
                <a:solidFill>
                  <a:srgbClr val="2898D4"/>
                </a:solidFill>
              </a:defRPr>
            </a:lvl2pPr>
            <a:lvl3pPr marL="914400" indent="0">
              <a:buNone/>
              <a:defRPr>
                <a:solidFill>
                  <a:srgbClr val="2898D4"/>
                </a:solidFill>
              </a:defRPr>
            </a:lvl3pPr>
            <a:lvl4pPr marL="1371600" indent="0">
              <a:buNone/>
              <a:defRPr>
                <a:solidFill>
                  <a:srgbClr val="2898D4"/>
                </a:solidFill>
              </a:defRPr>
            </a:lvl4pPr>
            <a:lvl5pPr marL="1828800" indent="0">
              <a:buNone/>
              <a:defRPr>
                <a:solidFill>
                  <a:srgbClr val="2898D4"/>
                </a:solidFill>
              </a:defRPr>
            </a:lvl5pPr>
          </a:lstStyle>
          <a:p>
            <a:pPr algn="l"/>
            <a:r>
              <a:rPr lang="fr-FR" sz="1600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Slide </a:t>
            </a:r>
            <a:r>
              <a:rPr lang="fr-FR" sz="1600" err="1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sub</a:t>
            </a:r>
            <a:r>
              <a:rPr lang="fr-FR" sz="1600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</a:rPr>
              <a:t> header 16pt</a:t>
            </a:r>
          </a:p>
        </p:txBody>
      </p:sp>
      <p:sp>
        <p:nvSpPr>
          <p:cNvPr id="14" name="Google Shape;26;p3"/>
          <p:cNvSpPr txBox="1">
            <a:spLocks noGrp="1"/>
          </p:cNvSpPr>
          <p:nvPr>
            <p:ph type="body" idx="18" hasCustomPrompt="1"/>
          </p:nvPr>
        </p:nvSpPr>
        <p:spPr>
          <a:xfrm>
            <a:off x="7752184" y="1700808"/>
            <a:ext cx="2807866" cy="435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 baseline="0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Title text 24pt</a:t>
            </a:r>
            <a:endParaRPr/>
          </a:p>
        </p:txBody>
      </p:sp>
      <p:sp>
        <p:nvSpPr>
          <p:cNvPr id="16" name="Google Shape;26;p3"/>
          <p:cNvSpPr txBox="1">
            <a:spLocks noGrp="1"/>
          </p:cNvSpPr>
          <p:nvPr>
            <p:ph type="body" idx="20" hasCustomPrompt="1"/>
          </p:nvPr>
        </p:nvSpPr>
        <p:spPr>
          <a:xfrm>
            <a:off x="4692067" y="1700808"/>
            <a:ext cx="2807866" cy="435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 baseline="0">
                <a:solidFill>
                  <a:srgbClr val="2898D4"/>
                </a:solidFill>
                <a:latin typeface="PF Highway Sans Pro" charset="0"/>
                <a:ea typeface="PF Highway Sans Pro" charset="0"/>
                <a:cs typeface="PF Highway Sans Pro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Title text 24pt</a:t>
            </a:r>
            <a:endParaRPr/>
          </a:p>
        </p:txBody>
      </p:sp>
      <p:sp>
        <p:nvSpPr>
          <p:cNvPr id="20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1639328" y="4584973"/>
            <a:ext cx="2800488" cy="1368152"/>
          </a:xfrm>
          <a:prstGeom prst="rect">
            <a:avLst/>
          </a:prstGeom>
          <a:solidFill>
            <a:schemeClr val="bg1">
              <a:lumMod val="85000"/>
              <a:alpha val="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rgbClr val="003C68"/>
                </a:solidFill>
              </a:defRPr>
            </a:lvl1pPr>
          </a:lstStyle>
          <a:p>
            <a:r>
              <a:rPr lang="en-US"/>
              <a:t>Insert infographic</a:t>
            </a:r>
          </a:p>
        </p:txBody>
      </p:sp>
      <p:sp>
        <p:nvSpPr>
          <p:cNvPr id="21" name="Picture Placeholder 25"/>
          <p:cNvSpPr>
            <a:spLocks noGrp="1"/>
          </p:cNvSpPr>
          <p:nvPr>
            <p:ph type="pic" sz="quarter" idx="21" hasCustomPrompt="1"/>
          </p:nvPr>
        </p:nvSpPr>
        <p:spPr>
          <a:xfrm>
            <a:off x="4699445" y="4584973"/>
            <a:ext cx="2800488" cy="1368152"/>
          </a:xfrm>
          <a:prstGeom prst="rect">
            <a:avLst/>
          </a:prstGeom>
          <a:solidFill>
            <a:schemeClr val="bg1">
              <a:lumMod val="85000"/>
              <a:alpha val="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rgbClr val="003C68"/>
                </a:solidFill>
              </a:defRPr>
            </a:lvl1pPr>
          </a:lstStyle>
          <a:p>
            <a:r>
              <a:rPr lang="en-US"/>
              <a:t>Insert infographic</a:t>
            </a:r>
          </a:p>
        </p:txBody>
      </p:sp>
      <p:sp>
        <p:nvSpPr>
          <p:cNvPr id="22" name="Picture Placeholder 25"/>
          <p:cNvSpPr>
            <a:spLocks noGrp="1"/>
          </p:cNvSpPr>
          <p:nvPr>
            <p:ph type="pic" sz="quarter" idx="22" hasCustomPrompt="1"/>
          </p:nvPr>
        </p:nvSpPr>
        <p:spPr>
          <a:xfrm>
            <a:off x="7759562" y="4584973"/>
            <a:ext cx="2800488" cy="1368152"/>
          </a:xfrm>
          <a:prstGeom prst="rect">
            <a:avLst/>
          </a:prstGeom>
          <a:solidFill>
            <a:schemeClr val="bg1">
              <a:lumMod val="85000"/>
              <a:alpha val="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rgbClr val="003C68"/>
                </a:solidFill>
              </a:defRPr>
            </a:lvl1pPr>
          </a:lstStyle>
          <a:p>
            <a:r>
              <a:rPr lang="en-US"/>
              <a:t>Insert infographic</a:t>
            </a:r>
          </a:p>
        </p:txBody>
      </p:sp>
      <p:sp>
        <p:nvSpPr>
          <p:cNvPr id="23" name="Google Shape;26;p3"/>
          <p:cNvSpPr txBox="1">
            <a:spLocks noGrp="1"/>
          </p:cNvSpPr>
          <p:nvPr>
            <p:ph type="body" idx="23" hasCustomPrompt="1"/>
          </p:nvPr>
        </p:nvSpPr>
        <p:spPr>
          <a:xfrm>
            <a:off x="4699445" y="2136701"/>
            <a:ext cx="2800488" cy="2156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898D4"/>
              </a:buClr>
              <a:buSzPct val="90000"/>
              <a:buFont typeface="Arial" charset="0"/>
              <a:buChar char="•"/>
              <a:tabLst/>
              <a:defRPr sz="1600" b="0" i="0" u="none" strike="noStrike" cap="none" baseline="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/>
          </a:p>
        </p:txBody>
      </p:sp>
      <p:sp>
        <p:nvSpPr>
          <p:cNvPr id="24" name="Google Shape;26;p3"/>
          <p:cNvSpPr txBox="1">
            <a:spLocks noGrp="1"/>
          </p:cNvSpPr>
          <p:nvPr>
            <p:ph type="body" idx="24" hasCustomPrompt="1"/>
          </p:nvPr>
        </p:nvSpPr>
        <p:spPr>
          <a:xfrm>
            <a:off x="7752183" y="2136701"/>
            <a:ext cx="2807867" cy="2156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898D4"/>
              </a:buClr>
              <a:buSzPct val="90000"/>
              <a:buFont typeface="Arial" charset="0"/>
              <a:buChar char="•"/>
              <a:tabLst/>
              <a:defRPr sz="1600" b="0" i="0" u="none" strike="noStrike" cap="none" baseline="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  <a:sym typeface="Arial"/>
              </a:defRPr>
            </a:lvl1pPr>
            <a:lvl2pPr marL="914400" marR="0" lvl="1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r>
              <a:rPr lang="en-GB"/>
              <a:t>Bullet content here 16pt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/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082FD75C-F9F9-FB43-87E9-64CF6D2D71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71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2">
          <p15:clr>
            <a:srgbClr val="FBAE40"/>
          </p15:clr>
        </p15:guide>
        <p15:guide id="2" pos="102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29104-F835-CE59-0B7F-3FE7B76D87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C7A29F-62CB-E601-51FB-FBF076AA99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38100">
              <a:lnSpc>
                <a:spcPts val="1650"/>
              </a:lnSpc>
            </a:pPr>
            <a:fld id="{81D60167-4931-47E6-BA6A-407CBD079E47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57F5C1-FC28-AE85-FDEF-4A7C9330A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650"/>
              </a:lnSpc>
            </a:pPr>
            <a:r>
              <a:rPr lang="en-US" spc="-110"/>
              <a:t>P</a:t>
            </a:r>
            <a:r>
              <a:rPr lang="en-US" spc="-45"/>
              <a:t>A</a:t>
            </a:r>
            <a:r>
              <a:rPr lang="en-US"/>
              <a:t>GE</a:t>
            </a:r>
          </a:p>
        </p:txBody>
      </p:sp>
    </p:spTree>
    <p:extLst>
      <p:ext uri="{BB962C8B-B14F-4D97-AF65-F5344CB8AC3E}">
        <p14:creationId xmlns:p14="http://schemas.microsoft.com/office/powerpoint/2010/main" val="912537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29104-F835-CE59-0B7F-3FE7B76D87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C7A29F-62CB-E601-51FB-FBF076AA99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89074" y="6518708"/>
            <a:ext cx="260001" cy="239507"/>
          </a:xfrm>
        </p:spPr>
        <p:txBody>
          <a:bodyPr/>
          <a:lstStyle/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339B56-8B0E-173D-6AA4-CF0A397242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14619" y="6594104"/>
            <a:ext cx="9387840" cy="92333"/>
          </a:xfrm>
          <a:noFill/>
        </p:spPr>
        <p:txBody>
          <a:bodyPr wrap="square" lIns="108000" tIns="0" rIns="144000" bIns="0" anchor="b">
            <a:spAutoFit/>
          </a:bodyPr>
          <a:lstStyle>
            <a:lvl1pPr>
              <a:spcBef>
                <a:spcPts val="0"/>
              </a:spcBef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8174E94-67F2-5D14-1C99-320B8A78DF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0" y="1493278"/>
            <a:ext cx="10966927" cy="4878461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032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py with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8D3807D-005D-1EA7-BDFB-14AAD01BA4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1" y="495225"/>
            <a:ext cx="10799041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D9B5564-9A62-D94D-2E9E-79EEF26B9E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1" y="1773044"/>
            <a:ext cx="10799042" cy="459869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572E294D-409A-9873-A60B-C9308B7CA8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D40510-7691-53BF-A9E6-AACF716729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950" y="1308100"/>
            <a:ext cx="10798572" cy="342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ub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AF43B0-FA1E-9520-CCB5-4A4B767A19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57375" y="6576905"/>
            <a:ext cx="9134475" cy="123111"/>
          </a:xfrm>
        </p:spPr>
        <p:txBody>
          <a:bodyPr tIns="0" rIns="0" bIns="0" anchor="b">
            <a:spAutoFit/>
          </a:bodyPr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4559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with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8D3807D-005D-1EA7-BDFB-14AAD01BA4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1" y="495225"/>
            <a:ext cx="10717692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D9B5564-9A62-D94D-2E9E-79EEF26B9E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0" y="1873365"/>
            <a:ext cx="5111749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572E294D-409A-9873-A60B-C9308B7CA8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46933B-9732-7F5C-CC4C-14DA266B0EA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348413" y="1873365"/>
            <a:ext cx="5111750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219EABC-E1C2-D76A-1B91-CC16ED4DA6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14619" y="6594104"/>
            <a:ext cx="9387840" cy="92333"/>
          </a:xfrm>
          <a:noFill/>
        </p:spPr>
        <p:txBody>
          <a:bodyPr wrap="square" lIns="108000" tIns="0" rIns="144000" bIns="0" anchor="b">
            <a:spAutoFit/>
          </a:bodyPr>
          <a:lstStyle>
            <a:lvl1pPr>
              <a:spcBef>
                <a:spcPts val="0"/>
              </a:spcBef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E6E325-80C5-83C5-5C85-A62D39824F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2950" y="1308100"/>
            <a:ext cx="10717213" cy="342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815395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with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8D3807D-005D-1EA7-BDFB-14AAD01BA4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1" y="495225"/>
            <a:ext cx="10717213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D9B5564-9A62-D94D-2E9E-79EEF26B9E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1" y="1873365"/>
            <a:ext cx="3240000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572E294D-409A-9873-A60B-C9308B7CA8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46933B-9732-7F5C-CC4C-14DA266B0EA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81271" y="1873365"/>
            <a:ext cx="3240000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5CEABEF-0E01-6F54-D933-8FB022D3F58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220075" y="1873365"/>
            <a:ext cx="3240088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082BE4C-BE8E-E31C-36BA-355BBF6A30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619" y="6594104"/>
            <a:ext cx="9387840" cy="92333"/>
          </a:xfrm>
          <a:noFill/>
        </p:spPr>
        <p:txBody>
          <a:bodyPr wrap="square" lIns="108000" tIns="0" rIns="144000" bIns="0" anchor="b">
            <a:spAutoFit/>
          </a:bodyPr>
          <a:lstStyle>
            <a:lvl1pPr>
              <a:spcBef>
                <a:spcPts val="0"/>
              </a:spcBef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EF5F378-0453-754B-8517-56B2ACB9FA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2950" y="1308100"/>
            <a:ext cx="10717213" cy="342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45084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 with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8D3807D-005D-1EA7-BDFB-14AAD01BA4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471" y="495225"/>
            <a:ext cx="10770125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D9B5564-9A62-D94D-2E9E-79EEF26B9E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471" y="1873365"/>
            <a:ext cx="2340000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" name="Slide Number Placeholder 23">
            <a:extLst>
              <a:ext uri="{FF2B5EF4-FFF2-40B4-BE49-F238E27FC236}">
                <a16:creationId xmlns:a16="http://schemas.microsoft.com/office/drawing/2014/main" id="{572E294D-409A-9873-A60B-C9308B7CA8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9074" y="6518708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46933B-9732-7F5C-CC4C-14DA266B0EA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541818" y="1873365"/>
            <a:ext cx="2340000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5CEABEF-0E01-6F54-D933-8FB022D3F58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49186" y="1873365"/>
            <a:ext cx="2340000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36960F4-6D5A-B207-202B-39B0D0F7A48B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9172596" y="1873365"/>
            <a:ext cx="2340000" cy="4498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BC60136-C0DC-88A9-D2DF-4733B57E16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14619" y="6594104"/>
            <a:ext cx="9387840" cy="92333"/>
          </a:xfrm>
          <a:noFill/>
        </p:spPr>
        <p:txBody>
          <a:bodyPr wrap="square" lIns="108000" tIns="0" rIns="144000" bIns="0" anchor="b">
            <a:spAutoFit/>
          </a:bodyPr>
          <a:lstStyle>
            <a:lvl1pPr>
              <a:spcBef>
                <a:spcPts val="0"/>
              </a:spcBef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51C812-4B9C-4E2D-B405-1993D8002C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2950" y="1308100"/>
            <a:ext cx="10769646" cy="342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Your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143796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oleObject" Target="../embeddings/oleObject1.bin"/><Relationship Id="rId55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A12CA4-599D-46CB-3137-7C0BD37CC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392653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415" imgH="416" progId="TCLayout.ActiveDocument.1">
                  <p:embed/>
                </p:oleObj>
              </mc:Choice>
              <mc:Fallback>
                <p:oleObj name="think-cell Slide" r:id="rId50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A12CA4-599D-46CB-3137-7C0BD37CC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phic 6">
            <a:extLst>
              <a:ext uri="{FF2B5EF4-FFF2-40B4-BE49-F238E27FC236}">
                <a16:creationId xmlns:a16="http://schemas.microsoft.com/office/drawing/2014/main" id="{1EDC33DB-F92B-3A63-7241-5C14D0426711}"/>
              </a:ext>
            </a:extLst>
          </p:cNvPr>
          <p:cNvPicPr>
            <a:picLocks noChangeAspect="1"/>
          </p:cNvPicPr>
          <p:nvPr userDrawn="1"/>
        </p:nvPicPr>
        <p:blipFill>
          <a:blip r:embed="rId5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06879" y="657563"/>
            <a:ext cx="781456" cy="82964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FE4706-E96E-4DD3-0916-25A77F0E6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471" y="495225"/>
            <a:ext cx="10730059" cy="81270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/>
              <a:t>Your title goes her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9F4649-E5AA-AE6A-9EBB-B3D32652C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2471" y="1806498"/>
            <a:ext cx="10730060" cy="4565241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94FFC3CE-281D-183B-4349-D05C595A9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4316" y="6500236"/>
            <a:ext cx="260001" cy="239507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800" b="0" i="0">
                <a:solidFill>
                  <a:schemeClr val="accent1"/>
                </a:solidFill>
                <a:latin typeface="Lato" panose="020F0502020204030203" pitchFamily="34" charset="77"/>
              </a:defRPr>
            </a:lvl1pPr>
          </a:lstStyle>
          <a:p>
            <a:fld id="{E10C01DA-1839-A04C-8248-DFDB2C2EF3A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F2CC307-6BC5-0C90-B34A-59E7B4C64047}"/>
              </a:ext>
            </a:extLst>
          </p:cNvPr>
          <p:cNvPicPr>
            <a:picLocks noChangeAspect="1"/>
          </p:cNvPicPr>
          <p:nvPr userDrawn="1"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722935" y="6553132"/>
            <a:ext cx="642009" cy="170329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63B492-D0FF-D8E5-2A48-6B58DEC2DE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70979" y="6600350"/>
            <a:ext cx="9112715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904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  <p:sldLayoutId id="2147483976" r:id="rId12"/>
    <p:sldLayoutId id="2147483977" r:id="rId13"/>
    <p:sldLayoutId id="2147483978" r:id="rId14"/>
    <p:sldLayoutId id="2147483979" r:id="rId15"/>
    <p:sldLayoutId id="2147483980" r:id="rId16"/>
    <p:sldLayoutId id="2147483981" r:id="rId17"/>
    <p:sldLayoutId id="2147483982" r:id="rId18"/>
    <p:sldLayoutId id="2147483983" r:id="rId19"/>
    <p:sldLayoutId id="2147483984" r:id="rId20"/>
    <p:sldLayoutId id="2147483985" r:id="rId21"/>
    <p:sldLayoutId id="2147483986" r:id="rId22"/>
    <p:sldLayoutId id="2147483987" r:id="rId23"/>
    <p:sldLayoutId id="2147483988" r:id="rId24"/>
    <p:sldLayoutId id="2147483989" r:id="rId25"/>
    <p:sldLayoutId id="2147483990" r:id="rId26"/>
    <p:sldLayoutId id="2147483991" r:id="rId27"/>
    <p:sldLayoutId id="2147483992" r:id="rId28"/>
    <p:sldLayoutId id="2147483993" r:id="rId29"/>
    <p:sldLayoutId id="2147483994" r:id="rId30"/>
    <p:sldLayoutId id="2147483995" r:id="rId31"/>
    <p:sldLayoutId id="2147483996" r:id="rId32"/>
    <p:sldLayoutId id="2147483997" r:id="rId33"/>
    <p:sldLayoutId id="2147483998" r:id="rId34"/>
    <p:sldLayoutId id="2147483999" r:id="rId35"/>
    <p:sldLayoutId id="2147484000" r:id="rId36"/>
    <p:sldLayoutId id="2147484001" r:id="rId37"/>
    <p:sldLayoutId id="2147484002" r:id="rId38"/>
    <p:sldLayoutId id="2147484003" r:id="rId39"/>
    <p:sldLayoutId id="2147484004" r:id="rId40"/>
    <p:sldLayoutId id="2147484005" r:id="rId41"/>
    <p:sldLayoutId id="2147484006" r:id="rId42"/>
    <p:sldLayoutId id="2147484007" r:id="rId43"/>
    <p:sldLayoutId id="2147484008" r:id="rId44"/>
    <p:sldLayoutId id="2147484009" r:id="rId45"/>
    <p:sldLayoutId id="2147484010" r:id="rId46"/>
    <p:sldLayoutId id="2147484159" r:id="rId47"/>
  </p:sldLayoutIdLst>
  <p:hf sldNum="0"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2800" b="0" i="0" kern="1200">
          <a:solidFill>
            <a:schemeClr val="tx2"/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1">
          <p15:clr>
            <a:srgbClr val="F26B43"/>
          </p15:clr>
        </p15:guide>
        <p15:guide id="2" pos="7219">
          <p15:clr>
            <a:srgbClr val="F26B43"/>
          </p15:clr>
        </p15:guide>
        <p15:guide id="3" pos="3681">
          <p15:clr>
            <a:srgbClr val="F26B43"/>
          </p15:clr>
        </p15:guide>
        <p15:guide id="4" pos="3999">
          <p15:clr>
            <a:srgbClr val="F26B43"/>
          </p15:clr>
        </p15:guide>
        <p15:guide id="5" pos="1912">
          <p15:clr>
            <a:srgbClr val="F26B43"/>
          </p15:clr>
        </p15:guide>
        <p15:guide id="6" pos="2230">
          <p15:clr>
            <a:srgbClr val="F26B43"/>
          </p15:clr>
        </p15:guide>
        <p15:guide id="7" pos="5450">
          <p15:clr>
            <a:srgbClr val="F26B43"/>
          </p15:clr>
        </p15:guide>
        <p15:guide id="8" pos="5768">
          <p15:clr>
            <a:srgbClr val="F26B43"/>
          </p15:clr>
        </p15:guide>
        <p15:guide id="9" pos="2502">
          <p15:clr>
            <a:srgbClr val="5ACBF0"/>
          </p15:clr>
        </p15:guide>
        <p15:guide id="10" pos="2819">
          <p15:clr>
            <a:srgbClr val="5ACBF0"/>
          </p15:clr>
        </p15:guide>
        <p15:guide id="11" pos="4861">
          <p15:clr>
            <a:srgbClr val="5ACBF0"/>
          </p15:clr>
        </p15:guide>
        <p15:guide id="12" pos="5178">
          <p15:clr>
            <a:srgbClr val="5ACBF0"/>
          </p15:clr>
        </p15:guide>
        <p15:guide id="13" orient="horz" pos="935">
          <p15:clr>
            <a:srgbClr val="F26B43"/>
          </p15:clr>
        </p15:guide>
        <p15:guide id="14" orient="horz" pos="8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d3.myworkday.com/ipsen/d/inst/15$158872/9925$21754.htmld" TargetMode="External"/><Relationship Id="rId7" Type="http://schemas.openxmlformats.org/officeDocument/2006/relationships/hyperlink" Target="https://wd3.myworkday.com/ipsen/d/inst/15$158872/9925$20780.htmld" TargetMode="External"/><Relationship Id="rId2" Type="http://schemas.openxmlformats.org/officeDocument/2006/relationships/hyperlink" Target="https://wd3.myworkday.com/ipsen/d/inst/15$158872/9925$21734.htmld" TargetMode="External"/><Relationship Id="rId1" Type="http://schemas.openxmlformats.org/officeDocument/2006/relationships/slideLayout" Target="../slideLayouts/slideLayout47.xml"/><Relationship Id="rId6" Type="http://schemas.openxmlformats.org/officeDocument/2006/relationships/hyperlink" Target="https://wd3.myworkday.com/ipsen/d/inst/15$158872/9925$20924.htmld" TargetMode="External"/><Relationship Id="rId5" Type="http://schemas.openxmlformats.org/officeDocument/2006/relationships/hyperlink" Target="https://wd3.myworkday.com/ipsen/d/inst/15$158872/9925$21808.htmld" TargetMode="External"/><Relationship Id="rId4" Type="http://schemas.openxmlformats.org/officeDocument/2006/relationships/hyperlink" Target="https://wd3.myworkday.com/ipsen/d/inst/15$158872/9925$21573.htmld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d3.myworkday.com/ipsen/d/inst/15$158872/9925$21595.htmld" TargetMode="External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567D4-4510-3C4D-F8A7-2AAC16D3E9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-5">
                <a:solidFill>
                  <a:srgbClr val="0A4054"/>
                </a:solidFill>
              </a:rPr>
              <a:t>HR opportunities – March 2024 					</a:t>
            </a:r>
            <a:endParaRPr lang="en-US"/>
          </a:p>
        </p:txBody>
      </p:sp>
      <p:graphicFrame>
        <p:nvGraphicFramePr>
          <p:cNvPr id="3" name="object 10">
            <a:extLst>
              <a:ext uri="{FF2B5EF4-FFF2-40B4-BE49-F238E27FC236}">
                <a16:creationId xmlns:a16="http://schemas.microsoft.com/office/drawing/2014/main" id="{CFE02600-3653-53DD-18C7-A4E81D2FC1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691324"/>
              </p:ext>
            </p:extLst>
          </p:nvPr>
        </p:nvGraphicFramePr>
        <p:xfrm>
          <a:off x="1062531" y="1822280"/>
          <a:ext cx="10089937" cy="43286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79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8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40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53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6429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89101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Position</a:t>
                      </a:r>
                      <a:endParaRPr lang="en-US" sz="12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8417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1" spc="-5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Manager</a:t>
                      </a:r>
                      <a:endParaRPr lang="en-US" sz="12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827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Location</a:t>
                      </a:r>
                      <a:endParaRPr lang="en-US" sz="12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1" spc="-5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Type</a:t>
                      </a:r>
                      <a:r>
                        <a:rPr lang="en-US" sz="1200" b="1" i="1" spc="-40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2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lang="en-US" sz="1200" b="1" i="1" spc="-30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2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Contract</a:t>
                      </a:r>
                      <a:endParaRPr lang="en-US" sz="12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652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Link</a:t>
                      </a:r>
                      <a:r>
                        <a:rPr lang="en-US" sz="1200" b="1" i="1" spc="-45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2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to</a:t>
                      </a:r>
                      <a:r>
                        <a:rPr lang="en-US" sz="1200" b="1" i="1" spc="-20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2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Job</a:t>
                      </a:r>
                      <a:r>
                        <a:rPr lang="en-US" sz="1200" b="1" i="1" spc="-35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2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Advertisement</a:t>
                      </a:r>
                      <a:endParaRPr lang="en-US" sz="12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0986">
                <a:tc>
                  <a:txBody>
                    <a:bodyPr/>
                    <a:lstStyle/>
                    <a:p>
                      <a:pPr marL="635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i="1" spc="-5" noProof="0">
                          <a:solidFill>
                            <a:srgbClr val="1785B0"/>
                          </a:solidFill>
                          <a:latin typeface="+mn-lt"/>
                          <a:ea typeface="+mn-ea"/>
                          <a:cs typeface="Calibri"/>
                        </a:rPr>
                        <a:t>Associate Director Compensation, North America</a:t>
                      </a:r>
                      <a:endParaRPr lang="en-US" sz="1200" b="1" i="1" spc="-5" noProof="0">
                        <a:solidFill>
                          <a:srgbClr val="1785B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096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Michaela Leo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3180" algn="l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Cambridge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335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86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>
                          <a:solidFill>
                            <a:srgbClr val="0A4054"/>
                          </a:solidFill>
                          <a:latin typeface="+mn-lt"/>
                          <a:ea typeface="+mn-ea"/>
                          <a:cs typeface="Calibri"/>
                        </a:rPr>
                        <a:t>Permanent</a:t>
                      </a:r>
                      <a:endParaRPr lang="en-US" sz="1100" noProof="0">
                        <a:solidFill>
                          <a:srgbClr val="0A4054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 dirty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ssociate Director Compensation, North America</a:t>
                      </a:r>
                    </a:p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 dirty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-16209   |   Posting Date: 26/03/2024   |   Cambridge</a:t>
                      </a:r>
                      <a:endParaRPr lang="fr-FR" sz="1100" u="none" noProof="0" dirty="0">
                        <a:solidFill>
                          <a:schemeClr val="tx2"/>
                        </a:solidFill>
                        <a:uFill>
                          <a:solidFill>
                            <a:srgbClr val="094054"/>
                          </a:solidFill>
                        </a:u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477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5910476"/>
                  </a:ext>
                </a:extLst>
              </a:tr>
              <a:tr h="641388">
                <a:tc>
                  <a:txBody>
                    <a:bodyPr/>
                    <a:lstStyle/>
                    <a:p>
                      <a:pPr marL="635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i="1" spc="-5" noProof="0">
                          <a:solidFill>
                            <a:srgbClr val="1785B0"/>
                          </a:solidFill>
                          <a:latin typeface="+mn-lt"/>
                          <a:ea typeface="+mn-ea"/>
                          <a:cs typeface="Calibri"/>
                        </a:rPr>
                        <a:t>Senior Manager, Benefits and Mobility North America</a:t>
                      </a:r>
                      <a:endParaRPr lang="en-US" sz="1200" b="1" i="1" spc="-5" noProof="0">
                        <a:solidFill>
                          <a:srgbClr val="1785B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096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Michaela Leo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3180" algn="l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Cambridge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335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86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>
                          <a:solidFill>
                            <a:srgbClr val="0A4054"/>
                          </a:solidFill>
                          <a:latin typeface="+mn-lt"/>
                          <a:ea typeface="+mn-ea"/>
                          <a:cs typeface="Calibri"/>
                        </a:rPr>
                        <a:t>Permanent</a:t>
                      </a:r>
                      <a:endParaRPr lang="en-US" sz="1100" noProof="0">
                        <a:solidFill>
                          <a:srgbClr val="0A4054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nior Manager, Benefits and Mobility North America</a:t>
                      </a:r>
                    </a:p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-16208   |   Posting Date: 26/03/2024   |   Cambridge</a:t>
                      </a:r>
                      <a:endParaRPr lang="fr-FR" sz="1100" u="none" noProof="0">
                        <a:solidFill>
                          <a:schemeClr val="tx2"/>
                        </a:solidFill>
                        <a:uFill>
                          <a:solidFill>
                            <a:srgbClr val="094054"/>
                          </a:solidFill>
                        </a:u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477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9861616"/>
                  </a:ext>
                </a:extLst>
              </a:tr>
              <a:tr h="500279">
                <a:tc>
                  <a:txBody>
                    <a:bodyPr/>
                    <a:lstStyle/>
                    <a:p>
                      <a:pPr marL="635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i="1" spc="-5" noProof="0">
                          <a:solidFill>
                            <a:srgbClr val="1785B0"/>
                          </a:solidFill>
                          <a:latin typeface="+mn-lt"/>
                          <a:ea typeface="+mn-ea"/>
                          <a:cs typeface="Calibri"/>
                        </a:rPr>
                        <a:t>Head of HR, Korea</a:t>
                      </a:r>
                      <a:endParaRPr lang="en-US" sz="1200" b="1" i="1" spc="-5" noProof="0">
                        <a:solidFill>
                          <a:srgbClr val="1785B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096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Shanon NG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3180" algn="l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Seoul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335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86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>
                          <a:solidFill>
                            <a:srgbClr val="0A4054"/>
                          </a:solidFill>
                          <a:latin typeface="+mn-lt"/>
                          <a:ea typeface="+mn-ea"/>
                          <a:cs typeface="Calibri"/>
                        </a:rPr>
                        <a:t>Permanent</a:t>
                      </a:r>
                      <a:endParaRPr lang="en-US" sz="1100" noProof="0">
                        <a:solidFill>
                          <a:srgbClr val="0A4054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ead of HR, Korea</a:t>
                      </a:r>
                    </a:p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-16223   |   Posting Date: 26/03/2024   |   Seoul</a:t>
                      </a:r>
                      <a:endParaRPr lang="fr-FR" sz="1100" u="none" noProof="0">
                        <a:solidFill>
                          <a:schemeClr val="tx2"/>
                        </a:solidFill>
                        <a:uFill>
                          <a:solidFill>
                            <a:srgbClr val="094054"/>
                          </a:solidFill>
                        </a:u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477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2822293"/>
                  </a:ext>
                </a:extLst>
              </a:tr>
              <a:tr h="782823">
                <a:tc>
                  <a:txBody>
                    <a:bodyPr/>
                    <a:lstStyle/>
                    <a:p>
                      <a:pPr marL="635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spc="-5" noProof="0" dirty="0">
                          <a:solidFill>
                            <a:srgbClr val="1785B0"/>
                          </a:solidFill>
                          <a:latin typeface="+mn-lt"/>
                          <a:ea typeface="+mn-ea"/>
                          <a:cs typeface="Calibri"/>
                        </a:rPr>
                        <a:t>HRIS Senior Analyst &amp; Project Lead H/F</a:t>
                      </a:r>
                    </a:p>
                  </a:txBody>
                  <a:tcPr marL="0" marR="0" marT="10096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Siv-Sane KIN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3180" algn="l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Boulogne/Paris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335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86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>
                          <a:solidFill>
                            <a:srgbClr val="0A4054"/>
                          </a:solidFill>
                          <a:latin typeface="+mn-lt"/>
                          <a:ea typeface="+mn-ea"/>
                          <a:cs typeface="Calibri"/>
                        </a:rPr>
                        <a:t>Permanent</a:t>
                      </a:r>
                      <a:endParaRPr lang="en-US" sz="1100" noProof="0">
                        <a:solidFill>
                          <a:srgbClr val="0A4054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65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kern="1200" noProof="0" dirty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RIS Senior Analyst &amp; Project Lead H/F</a:t>
                      </a:r>
                    </a:p>
                    <a:p>
                      <a:pPr marL="965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kern="1200" noProof="0" dirty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-16117   |   Posting Date: 29/03/2024   |   Boulogne</a:t>
                      </a:r>
                      <a:endParaRPr lang="fr-FR" sz="1100" u="none" kern="1200" noProof="0" dirty="0">
                        <a:solidFill>
                          <a:schemeClr val="tx2"/>
                        </a:solidFill>
                        <a:uFill>
                          <a:solidFill>
                            <a:srgbClr val="094054"/>
                          </a:solidFill>
                        </a:u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477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868654"/>
                  </a:ext>
                </a:extLst>
              </a:tr>
              <a:tr h="698284">
                <a:tc>
                  <a:txBody>
                    <a:bodyPr/>
                    <a:lstStyle/>
                    <a:p>
                      <a:pPr marL="635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spc="-5" noProof="0">
                          <a:solidFill>
                            <a:srgbClr val="1785B0"/>
                          </a:solidFill>
                          <a:latin typeface="+mn-lt"/>
                          <a:ea typeface="+mn-ea"/>
                          <a:cs typeface="Calibri"/>
                        </a:rPr>
                        <a:t>Senior Human Resources Manager IBERIA</a:t>
                      </a:r>
                    </a:p>
                  </a:txBody>
                  <a:tcPr marL="0" marR="0" marT="10096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Alessandra BENEVOLO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3180" algn="l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Barcelona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335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86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>
                          <a:solidFill>
                            <a:srgbClr val="0A4054"/>
                          </a:solidFill>
                          <a:latin typeface="+mn-lt"/>
                          <a:ea typeface="+mn-ea"/>
                          <a:cs typeface="Calibri"/>
                        </a:rPr>
                        <a:t>Permanent</a:t>
                      </a:r>
                      <a:endParaRPr lang="en-US" sz="1100" noProof="0">
                        <a:solidFill>
                          <a:srgbClr val="0A4054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kern="1200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nior Human Resources Manager Iberia</a:t>
                      </a:r>
                    </a:p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kern="1200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-15774   |   Posting Date: 24/01/2024   |   Barcelona</a:t>
                      </a:r>
                      <a:endParaRPr lang="fr-FR" sz="1100" u="none" kern="1200" noProof="0">
                        <a:solidFill>
                          <a:schemeClr val="tx2"/>
                        </a:solidFill>
                        <a:uFill>
                          <a:solidFill>
                            <a:srgbClr val="094054"/>
                          </a:solidFill>
                        </a:u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477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6877723"/>
                  </a:ext>
                </a:extLst>
              </a:tr>
              <a:tr h="368970">
                <a:tc>
                  <a:txBody>
                    <a:bodyPr/>
                    <a:lstStyle/>
                    <a:p>
                      <a:pPr marL="635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i="1" spc="-5" noProof="0">
                          <a:solidFill>
                            <a:srgbClr val="1785B0"/>
                          </a:solidFill>
                          <a:latin typeface="+mn-lt"/>
                          <a:ea typeface="+mn-ea"/>
                          <a:cs typeface="Calibri"/>
                        </a:rPr>
                        <a:t>Talent Acquisition Partner</a:t>
                      </a:r>
                      <a:endParaRPr lang="en-US" sz="1200" b="1" i="1" spc="-5" noProof="0">
                        <a:solidFill>
                          <a:srgbClr val="1785B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096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Caroline O’REILLY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3180" algn="l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lang="fr-FR" sz="11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London</a:t>
                      </a:r>
                      <a:endParaRPr lang="en-US" sz="11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335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86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>
                          <a:solidFill>
                            <a:srgbClr val="0A4054"/>
                          </a:solidFill>
                          <a:latin typeface="+mn-lt"/>
                          <a:ea typeface="+mn-ea"/>
                          <a:cs typeface="Calibri"/>
                        </a:rPr>
                        <a:t>Permanent</a:t>
                      </a:r>
                      <a:endParaRPr lang="en-US" sz="1100" noProof="0">
                        <a:solidFill>
                          <a:srgbClr val="0A4054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fr-FR" sz="1100" u="none" noProof="0" dirty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alent Acquisition Partner</a:t>
                      </a:r>
                    </a:p>
                    <a:p>
                      <a:pPr marL="92075" indent="0" algn="l" fontAlgn="t"/>
                      <a:r>
                        <a:rPr lang="fr-FR" sz="1100" u="none" noProof="0" dirty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-15578   |   </a:t>
                      </a:r>
                      <a:r>
                        <a:rPr lang="fr-FR" sz="1100" u="none" noProof="0" dirty="0" err="1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osting</a:t>
                      </a:r>
                      <a:r>
                        <a:rPr lang="fr-FR" sz="1100" u="none" noProof="0" dirty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Date: 12/01/2024   |   London</a:t>
                      </a:r>
                      <a:endParaRPr lang="fr-FR" sz="1100" u="none" noProof="0" dirty="0">
                        <a:solidFill>
                          <a:schemeClr val="tx2"/>
                        </a:solidFill>
                        <a:uFill>
                          <a:solidFill>
                            <a:srgbClr val="094054"/>
                          </a:solidFill>
                        </a:u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477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070816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A614924-728A-911B-4A61-78C9C4297A6A}"/>
              </a:ext>
            </a:extLst>
          </p:cNvPr>
          <p:cNvSpPr txBox="1"/>
          <p:nvPr/>
        </p:nvSpPr>
        <p:spPr>
          <a:xfrm>
            <a:off x="7828156" y="1202990"/>
            <a:ext cx="2687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i="1">
                <a:solidFill>
                  <a:schemeClr val="accent6">
                    <a:lumMod val="75000"/>
                  </a:schemeClr>
                </a:solidFill>
              </a:rPr>
              <a:t>6 permanent positions</a:t>
            </a:r>
            <a:endParaRPr lang="en-US" b="1" i="1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292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567D4-4510-3C4D-F8A7-2AAC16D3E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970" y="770528"/>
            <a:ext cx="10730059" cy="812701"/>
          </a:xfrm>
        </p:spPr>
        <p:txBody>
          <a:bodyPr/>
          <a:lstStyle/>
          <a:p>
            <a:r>
              <a:rPr lang="en-US" sz="2800" b="0" spc="-5">
                <a:solidFill>
                  <a:srgbClr val="0A4054"/>
                </a:solidFill>
              </a:rPr>
              <a:t>HR opportunities – March 2024			</a:t>
            </a:r>
            <a:r>
              <a:rPr lang="en-US" sz="2000" b="0" kern="0" spc="-5">
                <a:solidFill>
                  <a:srgbClr val="0A4054"/>
                </a:solidFill>
              </a:rPr>
              <a:t>Fixed term/Apprentices</a:t>
            </a:r>
            <a:br>
              <a:rPr lang="en-US" sz="2000" b="0" kern="0" spc="-5">
                <a:solidFill>
                  <a:srgbClr val="0A4054"/>
                </a:solidFill>
              </a:rPr>
            </a:br>
            <a:r>
              <a:rPr lang="en-US" sz="2000" b="0" kern="0" spc="-5">
                <a:solidFill>
                  <a:srgbClr val="0A4054"/>
                </a:solidFill>
              </a:rPr>
              <a:t>								</a:t>
            </a:r>
            <a:r>
              <a:rPr lang="en-US" sz="2000" b="0" i="1" kern="0" spc="-5">
                <a:solidFill>
                  <a:srgbClr val="0A405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ignments</a:t>
            </a:r>
            <a:endParaRPr lang="en-US"/>
          </a:p>
        </p:txBody>
      </p:sp>
      <p:graphicFrame>
        <p:nvGraphicFramePr>
          <p:cNvPr id="3" name="object 10">
            <a:extLst>
              <a:ext uri="{FF2B5EF4-FFF2-40B4-BE49-F238E27FC236}">
                <a16:creationId xmlns:a16="http://schemas.microsoft.com/office/drawing/2014/main" id="{CFE02600-3653-53DD-18C7-A4E81D2FC1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769247"/>
              </p:ext>
            </p:extLst>
          </p:nvPr>
        </p:nvGraphicFramePr>
        <p:xfrm>
          <a:off x="873259" y="2691289"/>
          <a:ext cx="10587770" cy="19016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2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5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3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59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0599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48990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4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Position</a:t>
                      </a:r>
                      <a:endParaRPr lang="en-US" sz="14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38417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400" b="1" i="1" spc="-5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Manager</a:t>
                      </a:r>
                      <a:endParaRPr lang="en-US" sz="14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827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4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Location</a:t>
                      </a:r>
                      <a:endParaRPr lang="en-US" sz="14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400" b="1" i="1" spc="-5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Type</a:t>
                      </a:r>
                      <a:r>
                        <a:rPr lang="en-US" sz="1400" b="1" i="1" spc="-40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lang="en-US" sz="1400" b="1" i="1" spc="-30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Contract</a:t>
                      </a:r>
                      <a:endParaRPr lang="en-US" sz="14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652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4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Link</a:t>
                      </a:r>
                      <a:r>
                        <a:rPr lang="en-US" sz="1400" b="1" i="1" spc="-45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to</a:t>
                      </a:r>
                      <a:r>
                        <a:rPr lang="en-US" sz="1400" b="1" i="1" spc="-20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Job</a:t>
                      </a:r>
                      <a:r>
                        <a:rPr lang="en-US" sz="1400" b="1" i="1" spc="-35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400" b="1" i="1" noProof="0">
                          <a:solidFill>
                            <a:srgbClr val="633043"/>
                          </a:solidFill>
                          <a:latin typeface="Calibri"/>
                          <a:cs typeface="Calibri"/>
                        </a:rPr>
                        <a:t>Advertisement</a:t>
                      </a:r>
                      <a:endParaRPr lang="en-US" sz="1400" noProof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B>
                      <a:noFill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2956">
                <a:tc>
                  <a:txBody>
                    <a:bodyPr/>
                    <a:lstStyle/>
                    <a:p>
                      <a:pPr marL="63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i="1" kern="1200" spc="-5">
                          <a:solidFill>
                            <a:srgbClr val="1785B0"/>
                          </a:solidFill>
                          <a:latin typeface="+mn-lt"/>
                          <a:ea typeface="+mn-ea"/>
                          <a:cs typeface="Calibri"/>
                        </a:rPr>
                        <a:t>Alternant Gestionnaire formation H/F </a:t>
                      </a:r>
                      <a:endParaRPr lang="en-US" sz="1400" b="1" i="1" kern="1200" spc="-5" noProof="0">
                        <a:solidFill>
                          <a:srgbClr val="1785B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096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fr-FR" sz="12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Sophie LANDORMY</a:t>
                      </a:r>
                      <a:endParaRPr lang="en-US" sz="12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3180" algn="l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lang="fr-FR" sz="12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Boulogne/Paris</a:t>
                      </a:r>
                      <a:endParaRPr lang="en-US" sz="12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335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86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>
                          <a:solidFill>
                            <a:srgbClr val="0A4054"/>
                          </a:solidFill>
                          <a:latin typeface="+mn-lt"/>
                          <a:ea typeface="+mn-ea"/>
                          <a:cs typeface="Calibri"/>
                        </a:rPr>
                        <a:t>Apprentice</a:t>
                      </a:r>
                      <a:endParaRPr lang="en-US" sz="1200" noProof="0">
                        <a:solidFill>
                          <a:srgbClr val="0A4054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u="none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lternant Gestionnaire formation H/F - Dès Mi-Août 2024, à Boulogne-Billancourt</a:t>
                      </a:r>
                    </a:p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u="none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-15963   |   Posting Date: 12/03/2024   |   Boulogne</a:t>
                      </a:r>
                      <a:endParaRPr lang="fr-FR" sz="1200" u="none" noProof="0">
                        <a:solidFill>
                          <a:schemeClr val="tx2"/>
                        </a:solidFill>
                        <a:uFill>
                          <a:solidFill>
                            <a:srgbClr val="094054"/>
                          </a:solidFill>
                        </a:u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477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5910476"/>
                  </a:ext>
                </a:extLst>
              </a:tr>
              <a:tr h="639730">
                <a:tc>
                  <a:txBody>
                    <a:bodyPr/>
                    <a:lstStyle/>
                    <a:p>
                      <a:pPr marL="635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i="1" spc="-5" noProof="0">
                          <a:solidFill>
                            <a:srgbClr val="1785B0"/>
                          </a:solidFill>
                          <a:latin typeface="+mn-lt"/>
                          <a:ea typeface="+mn-ea"/>
                          <a:cs typeface="Calibri"/>
                        </a:rPr>
                        <a:t>Werkstudent HR (w/m/d)</a:t>
                      </a:r>
                      <a:endParaRPr lang="en-US" sz="1400" b="1" i="1" spc="-5" noProof="0">
                        <a:solidFill>
                          <a:srgbClr val="1785B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096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fr-FR" sz="12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Margareta MOERWALD </a:t>
                      </a:r>
                      <a:endParaRPr lang="en-US" sz="12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3180" algn="l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lang="fr-FR" sz="1200" spc="-5" noProof="0">
                          <a:solidFill>
                            <a:srgbClr val="0A4054"/>
                          </a:solidFill>
                          <a:latin typeface="Calibri"/>
                          <a:ea typeface="+mn-ea"/>
                          <a:cs typeface="Calibri"/>
                        </a:rPr>
                        <a:t>Munich</a:t>
                      </a:r>
                      <a:endParaRPr lang="en-US" sz="1200" spc="-5" noProof="0">
                        <a:solidFill>
                          <a:srgbClr val="0A4054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335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86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>
                          <a:solidFill>
                            <a:srgbClr val="0A4054"/>
                          </a:solidFill>
                          <a:latin typeface="+mn-lt"/>
                          <a:ea typeface="+mn-ea"/>
                          <a:cs typeface="Calibri"/>
                        </a:rPr>
                        <a:t>Trainee</a:t>
                      </a:r>
                      <a:endParaRPr lang="en-US" sz="1200" noProof="0">
                        <a:solidFill>
                          <a:srgbClr val="0A4054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10489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Werkstudent HR (w/m/d)</a:t>
                      </a:r>
                    </a:p>
                    <a:p>
                      <a:pPr marL="9652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noProof="0">
                          <a:solidFill>
                            <a:schemeClr val="tx2"/>
                          </a:solidFill>
                          <a:uFill>
                            <a:solidFill>
                              <a:srgbClr val="094054"/>
                            </a:solidFill>
                          </a:uFill>
                          <a:latin typeface="+mn-lt"/>
                          <a:ea typeface="+mn-ea"/>
                          <a:cs typeface="Calibri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-15881   |   Posting Date: 12/03/2024   |   Munich</a:t>
                      </a:r>
                      <a:endParaRPr lang="fr-FR" sz="1200" u="none" noProof="0">
                        <a:solidFill>
                          <a:schemeClr val="tx2"/>
                        </a:solidFill>
                        <a:uFill>
                          <a:solidFill>
                            <a:srgbClr val="094054"/>
                          </a:solidFill>
                        </a:u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104775" marB="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98616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18928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3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PSEN Template 2023">
  <a:themeElements>
    <a:clrScheme name="Ipsen 2023">
      <a:dk1>
        <a:srgbClr val="000000"/>
      </a:dk1>
      <a:lt1>
        <a:srgbClr val="FFFFFF"/>
      </a:lt1>
      <a:dk2>
        <a:srgbClr val="003670"/>
      </a:dk2>
      <a:lt2>
        <a:srgbClr val="003670"/>
      </a:lt2>
      <a:accent1>
        <a:srgbClr val="0086CC"/>
      </a:accent1>
      <a:accent2>
        <a:srgbClr val="007489"/>
      </a:accent2>
      <a:accent3>
        <a:srgbClr val="8EC899"/>
      </a:accent3>
      <a:accent4>
        <a:srgbClr val="E6BD9C"/>
      </a:accent4>
      <a:accent5>
        <a:srgbClr val="DD6644"/>
      </a:accent5>
      <a:accent6>
        <a:srgbClr val="C84874"/>
      </a:accent6>
      <a:hlink>
        <a:srgbClr val="C84874"/>
      </a:hlink>
      <a:folHlink>
        <a:srgbClr val="003670"/>
      </a:folHlink>
    </a:clrScheme>
    <a:fontScheme name="IPSEN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psen-template-2023_DEC_2023" id="{1E3AB0D6-F386-7448-BB2A-CC2F34AC129A}" vid="{1A3E65DD-D24E-C74C-95EA-2755757AF2F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9DEAF053075C418F81E8328111CE0B" ma:contentTypeVersion="18" ma:contentTypeDescription="Create a new document." ma:contentTypeScope="" ma:versionID="7e813b405cc8b86fc45f893979d53a1b">
  <xsd:schema xmlns:xsd="http://www.w3.org/2001/XMLSchema" xmlns:xs="http://www.w3.org/2001/XMLSchema" xmlns:p="http://schemas.microsoft.com/office/2006/metadata/properties" xmlns:ns2="864faff3-823a-4846-aacf-9454797ecede" xmlns:ns3="f5873d29-eb4b-4301-b732-d53a55615363" targetNamespace="http://schemas.microsoft.com/office/2006/metadata/properties" ma:root="true" ma:fieldsID="a9b01feb9321368180428a31408721d9" ns2:_="" ns3:_="">
    <xsd:import namespace="864faff3-823a-4846-aacf-9454797ecede"/>
    <xsd:import namespace="f5873d29-eb4b-4301-b732-d53a556153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faff3-823a-4846-aacf-9454797ece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49072c8d-48d9-43cf-8065-2623599aeb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873d29-eb4b-4301-b732-d53a5561536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d9b1ac3-da0c-416f-9898-0d6f8c656576}" ma:internalName="TaxCatchAll" ma:showField="CatchAllData" ma:web="f5873d29-eb4b-4301-b732-d53a556153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64faff3-823a-4846-aacf-9454797ecede">
      <Terms xmlns="http://schemas.microsoft.com/office/infopath/2007/PartnerControls"/>
    </lcf76f155ced4ddcb4097134ff3c332f>
    <TaxCatchAll xmlns="f5873d29-eb4b-4301-b732-d53a55615363" xsi:nil="true"/>
    <SharedWithUsers xmlns="f5873d29-eb4b-4301-b732-d53a55615363">
      <UserInfo>
        <DisplayName>Régis MULOT</DisplayName>
        <AccountId>54</AccountId>
        <AccountType/>
      </UserInfo>
      <UserInfo>
        <DisplayName>Sophie VERON</DisplayName>
        <AccountId>57</AccountId>
        <AccountType/>
      </UserInfo>
      <UserInfo>
        <DisplayName>Romain LEVI</DisplayName>
        <AccountId>55</AccountId>
        <AccountType/>
      </UserInfo>
      <UserInfo>
        <DisplayName>Fabienne ASTIER</DisplayName>
        <AccountId>31</AccountId>
        <AccountType/>
      </UserInfo>
      <UserInfo>
        <DisplayName>Abbie POUND</DisplayName>
        <AccountId>199</AccountId>
        <AccountType/>
      </UserInfo>
      <UserInfo>
        <DisplayName>Virginie SERVIERE</DisplayName>
        <AccountId>278</AccountId>
        <AccountType/>
      </UserInfo>
      <UserInfo>
        <DisplayName>Maxime CHESNAIS</DisplayName>
        <AccountId>148</AccountId>
        <AccountType/>
      </UserInfo>
      <UserInfo>
        <DisplayName>Elizabeth MCGEOY</DisplayName>
        <AccountId>105</AccountId>
        <AccountType/>
      </UserInfo>
      <UserInfo>
        <DisplayName>Siv-Sane KIN</DisplayName>
        <AccountId>12</AccountId>
        <AccountType/>
      </UserInfo>
      <UserInfo>
        <DisplayName>Mirjana LE FRIEC</DisplayName>
        <AccountId>157</AccountId>
        <AccountType/>
      </UserInfo>
      <UserInfo>
        <DisplayName>Chandini SHAH</DisplayName>
        <AccountId>25</AccountId>
        <AccountType/>
      </UserInfo>
      <UserInfo>
        <DisplayName>Olivier PAIN</DisplayName>
        <AccountId>1086</AccountId>
        <AccountType/>
      </UserInfo>
      <UserInfo>
        <DisplayName>Jerome CAMUS</DisplayName>
        <AccountId>187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A56E09B-9456-465E-8E6D-4E512C581F2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6E1BFE-740A-419F-83A4-5C926C1DDE03}">
  <ds:schemaRefs>
    <ds:schemaRef ds:uri="864faff3-823a-4846-aacf-9454797ecede"/>
    <ds:schemaRef ds:uri="f5873d29-eb4b-4301-b732-d53a5561536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E74086A-B16B-47DD-839B-A8A4B1CEE18D}">
  <ds:schemaRefs>
    <ds:schemaRef ds:uri="864faff3-823a-4846-aacf-9454797ecede"/>
    <ds:schemaRef ds:uri="f5873d29-eb4b-4301-b732-d53a5561536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</TotalTime>
  <Words>264</Words>
  <Application>Microsoft Office PowerPoint</Application>
  <PresentationFormat>Widescreen</PresentationFormat>
  <Paragraphs>6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Calibri</vt:lpstr>
      <vt:lpstr>Courier New</vt:lpstr>
      <vt:lpstr>Lato</vt:lpstr>
      <vt:lpstr>PF Highway Sans Pro</vt:lpstr>
      <vt:lpstr>PF Highway Sans Pro Medium</vt:lpstr>
      <vt:lpstr>Raleway</vt:lpstr>
      <vt:lpstr>Wingdings</vt:lpstr>
      <vt:lpstr>1_IPSEN Template 2023</vt:lpstr>
      <vt:lpstr>think-cell Slide</vt:lpstr>
      <vt:lpstr>HR opportunities – March 2024      </vt:lpstr>
      <vt:lpstr>HR opportunities – March 2024   Fixed term/Apprentices         Assign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Love</dc:creator>
  <cp:lastModifiedBy>Mirjana LE FRIEC</cp:lastModifiedBy>
  <cp:revision>2</cp:revision>
  <dcterms:created xsi:type="dcterms:W3CDTF">2023-08-21T09:44:59Z</dcterms:created>
  <dcterms:modified xsi:type="dcterms:W3CDTF">2024-04-02T14:4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9DEAF053075C418F81E8328111CE0B</vt:lpwstr>
  </property>
  <property fmtid="{D5CDD505-2E9C-101B-9397-08002B2CF9AE}" pid="3" name="MediaServiceImageTags">
    <vt:lpwstr/>
  </property>
</Properties>
</file>